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3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4.xml" ContentType="application/vnd.openxmlformats-officedocument.presentationml.notesSlide+xml"/>
  <Override PartName="/ppt/tags/tag68.xml" ContentType="application/vnd.openxmlformats-officedocument.presentationml.tags+xml"/>
  <Override PartName="/ppt/notesSlides/notesSlide5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6.xml" ContentType="application/vnd.openxmlformats-officedocument.presentationml.notesSlide+xml"/>
  <Override PartName="/ppt/tags/tag71.xml" ContentType="application/vnd.openxmlformats-officedocument.presentationml.tags+xml"/>
  <Override PartName="/ppt/notesSlides/notesSlide7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8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9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10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11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2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13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4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1" r:id="rId1"/>
  </p:sldMasterIdLst>
  <p:notesMasterIdLst>
    <p:notesMasterId r:id="rId20"/>
  </p:notesMasterIdLst>
  <p:handoutMasterIdLst>
    <p:handoutMasterId r:id="rId21"/>
  </p:handoutMasterIdLst>
  <p:sldIdLst>
    <p:sldId id="504" r:id="rId2"/>
    <p:sldId id="525" r:id="rId3"/>
    <p:sldId id="532" r:id="rId4"/>
    <p:sldId id="540" r:id="rId5"/>
    <p:sldId id="482" r:id="rId6"/>
    <p:sldId id="519" r:id="rId7"/>
    <p:sldId id="515" r:id="rId8"/>
    <p:sldId id="405" r:id="rId9"/>
    <p:sldId id="520" r:id="rId10"/>
    <p:sldId id="533" r:id="rId11"/>
    <p:sldId id="534" r:id="rId12"/>
    <p:sldId id="535" r:id="rId13"/>
    <p:sldId id="536" r:id="rId14"/>
    <p:sldId id="537" r:id="rId15"/>
    <p:sldId id="503" r:id="rId16"/>
    <p:sldId id="390" r:id="rId17"/>
    <p:sldId id="391" r:id="rId18"/>
    <p:sldId id="398" r:id="rId19"/>
  </p:sldIdLst>
  <p:sldSz cx="9144000" cy="6858000" type="screen4x3"/>
  <p:notesSz cx="6805613" cy="9944100"/>
  <p:custDataLst>
    <p:tags r:id="rId22"/>
  </p:custDataLst>
  <p:defaultTextStyle>
    <a:defPPr>
      <a:defRPr lang="en-US"/>
    </a:defPPr>
    <a:lvl1pPr marL="0" algn="l" defTabSz="9142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04" algn="l" defTabSz="9142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06" algn="l" defTabSz="9142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10" algn="l" defTabSz="9142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412" algn="l" defTabSz="9142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516" algn="l" defTabSz="9142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618" algn="l" defTabSz="9142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722" algn="l" defTabSz="9142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825" algn="l" defTabSz="91420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helle Arnot" initials="MA" lastIdx="30" clrIdx="0">
    <p:extLst/>
  </p:cmAuthor>
  <p:cmAuthor id="2" name="Lea Hegg" initials="LH" lastIdx="44" clrIdx="1">
    <p:extLst/>
  </p:cmAuthor>
  <p:cmAuthor id="3" name="Solina Administrator" initials="SA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0202"/>
    <a:srgbClr val="C2DBEC"/>
    <a:srgbClr val="99C837"/>
    <a:srgbClr val="00589F"/>
    <a:srgbClr val="0091CF"/>
    <a:srgbClr val="0000E6"/>
    <a:srgbClr val="063166"/>
    <a:srgbClr val="FFCC99"/>
    <a:srgbClr val="E6F559"/>
    <a:srgbClr val="8F9E0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746" autoAdjust="0"/>
    <p:restoredTop sz="90810" autoAdjust="0"/>
  </p:normalViewPr>
  <p:slideViewPr>
    <p:cSldViewPr snapToObjects="1">
      <p:cViewPr varScale="1">
        <p:scale>
          <a:sx n="104" d="100"/>
          <a:sy n="104" d="100"/>
        </p:scale>
        <p:origin x="2322" y="57"/>
      </p:cViewPr>
      <p:guideLst>
        <p:guide orient="horz" pos="2160"/>
        <p:guide pos="288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841" cy="498804"/>
          </a:xfrm>
          <a:prstGeom prst="rect">
            <a:avLst/>
          </a:prstGeom>
        </p:spPr>
        <p:txBody>
          <a:bodyPr vert="horz" lIns="91861" tIns="45930" rIns="91861" bIns="4593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183" y="0"/>
            <a:ext cx="2949841" cy="498804"/>
          </a:xfrm>
          <a:prstGeom prst="rect">
            <a:avLst/>
          </a:prstGeom>
        </p:spPr>
        <p:txBody>
          <a:bodyPr vert="horz" lIns="91861" tIns="45930" rIns="91861" bIns="45930" rtlCol="0"/>
          <a:lstStyle>
            <a:lvl1pPr algn="r">
              <a:defRPr sz="1200"/>
            </a:lvl1pPr>
          </a:lstStyle>
          <a:p>
            <a:fld id="{E6AB5BD7-40B9-4774-9FE9-8F8F4FF87BC3}" type="datetimeFigureOut">
              <a:rPr lang="en-US" smtClean="0"/>
              <a:t>5/23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5296"/>
            <a:ext cx="2949841" cy="498804"/>
          </a:xfrm>
          <a:prstGeom prst="rect">
            <a:avLst/>
          </a:prstGeom>
        </p:spPr>
        <p:txBody>
          <a:bodyPr vert="horz" lIns="91861" tIns="45930" rIns="91861" bIns="4593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183" y="9445296"/>
            <a:ext cx="2949841" cy="498804"/>
          </a:xfrm>
          <a:prstGeom prst="rect">
            <a:avLst/>
          </a:prstGeom>
        </p:spPr>
        <p:txBody>
          <a:bodyPr vert="horz" lIns="91861" tIns="45930" rIns="91861" bIns="45930" rtlCol="0" anchor="b"/>
          <a:lstStyle>
            <a:lvl1pPr algn="r">
              <a:defRPr sz="1200"/>
            </a:lvl1pPr>
          </a:lstStyle>
          <a:p>
            <a:fld id="{B9382FDC-2459-477D-BA42-8548D97EB8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5552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6"/>
          </a:xfrm>
          <a:prstGeom prst="rect">
            <a:avLst/>
          </a:prstGeom>
        </p:spPr>
        <p:txBody>
          <a:bodyPr vert="horz" lIns="91861" tIns="45930" rIns="91861" bIns="4593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40" y="0"/>
            <a:ext cx="2949099" cy="497206"/>
          </a:xfrm>
          <a:prstGeom prst="rect">
            <a:avLst/>
          </a:prstGeom>
        </p:spPr>
        <p:txBody>
          <a:bodyPr vert="horz" lIns="91861" tIns="45930" rIns="91861" bIns="45930" rtlCol="0"/>
          <a:lstStyle>
            <a:lvl1pPr algn="r">
              <a:defRPr sz="1200"/>
            </a:lvl1pPr>
          </a:lstStyle>
          <a:p>
            <a:fld id="{97B26744-72EE-406B-9558-04EF2D0359E2}" type="datetimeFigureOut">
              <a:rPr lang="en-US" smtClean="0"/>
              <a:pPr/>
              <a:t>5/23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6125"/>
            <a:ext cx="4970463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61" tIns="45930" rIns="91861" bIns="4593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6"/>
          </a:xfrm>
          <a:prstGeom prst="rect">
            <a:avLst/>
          </a:prstGeom>
        </p:spPr>
        <p:txBody>
          <a:bodyPr vert="horz" lIns="91861" tIns="45930" rIns="91861" bIns="4593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7206"/>
          </a:xfrm>
          <a:prstGeom prst="rect">
            <a:avLst/>
          </a:prstGeom>
        </p:spPr>
        <p:txBody>
          <a:bodyPr vert="horz" lIns="91861" tIns="45930" rIns="91861" bIns="4593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7206"/>
          </a:xfrm>
          <a:prstGeom prst="rect">
            <a:avLst/>
          </a:prstGeom>
        </p:spPr>
        <p:txBody>
          <a:bodyPr vert="horz" lIns="91861" tIns="45930" rIns="91861" bIns="45930" rtlCol="0" anchor="b"/>
          <a:lstStyle>
            <a:lvl1pPr algn="r">
              <a:defRPr sz="1200"/>
            </a:lvl1pPr>
          </a:lstStyle>
          <a:p>
            <a:fld id="{9AF29FE9-1ACD-447A-9767-3B2F7FB42AD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19273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04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06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10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12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516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18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722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825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rtl="0" fontAlgn="base">
              <a:spcBef>
                <a:spcPct val="0"/>
              </a:spcBef>
              <a:spcAft>
                <a:spcPct val="0"/>
              </a:spcAft>
              <a:defRPr/>
            </a:pPr>
            <a:fld id="{6A0EDD47-C848-47C9-94A5-B2EABECD5FA2}" type="slidenum">
              <a:rPr>
                <a:solidFill>
                  <a:prstClr val="black"/>
                </a:solidFill>
                <a:latin typeface="Arial" charset="0"/>
                <a:cs typeface="Arial" charset="0"/>
              </a:rPr>
              <a:pPr algn="r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ru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6827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32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l" rtl="0" eaLnBrk="1" hangingPunct="1">
              <a:spcBef>
                <a:spcPct val="0"/>
              </a:spcBef>
            </a:pPr>
            <a:endParaRPr lang="ru" smtClean="0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  <a:defRPr/>
            </a:pPr>
            <a:fld id="{249AEE69-3762-4E75-B491-E0095EF77471}" type="slidenum">
              <a:rPr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algn="l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ru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63765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32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l" rtl="0" eaLnBrk="1" hangingPunct="1">
              <a:spcBef>
                <a:spcPct val="0"/>
              </a:spcBef>
            </a:pPr>
            <a:endParaRPr lang="ru" smtClean="0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  <a:defRPr/>
            </a:pPr>
            <a:fld id="{249AEE69-3762-4E75-B491-E0095EF77471}" type="slidenum">
              <a:rPr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algn="l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ru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63765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32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l" rtl="0" eaLnBrk="1" hangingPunct="1">
              <a:spcBef>
                <a:spcPct val="0"/>
              </a:spcBef>
            </a:pPr>
            <a:endParaRPr lang="ru" smtClean="0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  <a:defRPr/>
            </a:pPr>
            <a:fld id="{249AEE69-3762-4E75-B491-E0095EF77471}" type="slidenum">
              <a:rPr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algn="l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ru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63765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32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l" rtl="0" eaLnBrk="1" hangingPunct="1">
              <a:spcBef>
                <a:spcPct val="0"/>
              </a:spcBef>
            </a:pPr>
            <a:endParaRPr lang="ru" smtClean="0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  <a:defRPr/>
            </a:pPr>
            <a:fld id="{249AEE69-3762-4E75-B491-E0095EF77471}" type="slidenum">
              <a:rPr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algn="l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endParaRPr lang="ru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63765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9AF29FE9-1ACD-447A-9767-3B2F7FB42ADC}" type="slidenum">
              <a:rPr>
                <a:solidFill>
                  <a:prstClr val="black"/>
                </a:solidFill>
              </a:rPr>
              <a:pPr algn="l" rtl="0"/>
              <a:t>15</a:t>
            </a:fld>
            <a:endParaRPr lang="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5287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algn="l" rtl="0"/>
            <a:fld id="{99A6149F-73CA-474F-AA8B-FC576340568F}" type="slidenum">
              <a:rPr>
                <a:solidFill>
                  <a:prstClr val="black"/>
                </a:solidFill>
              </a:rPr>
              <a:pPr/>
              <a:t>2</a:t>
            </a:fld>
            <a:endParaRPr lang="ru" dirty="0">
              <a:solidFill>
                <a:prstClr val="black"/>
              </a:solidFill>
            </a:endParaRPr>
          </a:p>
        </p:txBody>
      </p:sp>
      <p:sp>
        <p:nvSpPr>
          <p:cNvPr id="44035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456136" y="102578"/>
            <a:ext cx="1157235" cy="131687"/>
          </a:xfrm>
          <a:noFill/>
        </p:spPr>
        <p:txBody>
          <a:bodyPr/>
          <a:lstStyle/>
          <a:p>
            <a:pPr algn="l" rtl="0"/>
            <a:r>
              <a:rPr lang="ru-RU" b="0" i="0" u="none" baseline="0">
                <a:solidFill>
                  <a:prstClr val="black"/>
                </a:solidFill>
              </a:rPr>
              <a:t>DCO-AAA123-20100121-</a:t>
            </a:r>
          </a:p>
        </p:txBody>
      </p:sp>
      <p:sp>
        <p:nvSpPr>
          <p:cNvPr id="4403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1119" y="5343365"/>
            <a:ext cx="5799509" cy="263377"/>
          </a:xfrm>
          <a:noFill/>
          <a:ln/>
        </p:spPr>
        <p:txBody>
          <a:bodyPr>
            <a:normAutofit lnSpcReduction="10000"/>
          </a:bodyPr>
          <a:lstStyle/>
          <a:p>
            <a:pPr algn="l" rtl="0" eaLnBrk="1" hangingPunct="1"/>
            <a:r>
              <a:rPr lang="ru-RU" b="0" i="0" u="none" baseline="0"/>
              <a:t>Добавить «Учреждение группы по управлению проектом (PMT)»</a:t>
            </a:r>
          </a:p>
        </p:txBody>
      </p:sp>
    </p:spTree>
    <p:extLst>
      <p:ext uri="{BB962C8B-B14F-4D97-AF65-F5344CB8AC3E}">
        <p14:creationId xmlns:p14="http://schemas.microsoft.com/office/powerpoint/2010/main" val="33842158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algn="l" rtl="0"/>
            <a:fld id="{99A6149F-73CA-474F-AA8B-FC576340568F}" type="slidenum">
              <a:rPr>
                <a:solidFill>
                  <a:prstClr val="black"/>
                </a:solidFill>
              </a:rPr>
              <a:pPr/>
              <a:t>3</a:t>
            </a:fld>
            <a:endParaRPr lang="ru" dirty="0">
              <a:solidFill>
                <a:prstClr val="black"/>
              </a:solidFill>
            </a:endParaRPr>
          </a:p>
        </p:txBody>
      </p:sp>
      <p:sp>
        <p:nvSpPr>
          <p:cNvPr id="44035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456136" y="102578"/>
            <a:ext cx="1157235" cy="131687"/>
          </a:xfrm>
          <a:noFill/>
        </p:spPr>
        <p:txBody>
          <a:bodyPr/>
          <a:lstStyle/>
          <a:p>
            <a:pPr algn="l" rtl="0"/>
            <a:r>
              <a:rPr lang="ru-RU" b="0" i="0" u="none" baseline="0">
                <a:solidFill>
                  <a:prstClr val="black"/>
                </a:solidFill>
              </a:rPr>
              <a:t>DCO-AAA123-20100121-</a:t>
            </a:r>
          </a:p>
        </p:txBody>
      </p:sp>
      <p:sp>
        <p:nvSpPr>
          <p:cNvPr id="4403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1119" y="5343365"/>
            <a:ext cx="5799509" cy="263377"/>
          </a:xfrm>
          <a:noFill/>
          <a:ln/>
        </p:spPr>
        <p:txBody>
          <a:bodyPr>
            <a:normAutofit lnSpcReduction="10000"/>
          </a:bodyPr>
          <a:lstStyle/>
          <a:p>
            <a:pPr algn="l" rtl="0" eaLnBrk="1" hangingPunct="1"/>
            <a:r>
              <a:rPr lang="ru-RU" b="0" i="0" u="none" baseline="0"/>
              <a:t>Добавить «Учреждение группы по управлению проектом (PMT)»</a:t>
            </a:r>
          </a:p>
        </p:txBody>
      </p:sp>
    </p:spTree>
    <p:extLst>
      <p:ext uri="{BB962C8B-B14F-4D97-AF65-F5344CB8AC3E}">
        <p14:creationId xmlns:p14="http://schemas.microsoft.com/office/powerpoint/2010/main" val="33842158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algn="l" rtl="0"/>
            <a:fld id="{99A6149F-73CA-474F-AA8B-FC576340568F}" type="slidenum">
              <a:rPr>
                <a:solidFill>
                  <a:prstClr val="black"/>
                </a:solidFill>
              </a:rPr>
              <a:pPr algn="l" rtl="0"/>
              <a:t>4</a:t>
            </a:fld>
            <a:endParaRPr lang="ru" dirty="0">
              <a:solidFill>
                <a:prstClr val="black"/>
              </a:solidFill>
            </a:endParaRPr>
          </a:p>
        </p:txBody>
      </p:sp>
      <p:sp>
        <p:nvSpPr>
          <p:cNvPr id="44035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456136" y="102578"/>
            <a:ext cx="1157235" cy="131687"/>
          </a:xfrm>
          <a:noFill/>
        </p:spPr>
        <p:txBody>
          <a:bodyPr/>
          <a:lstStyle/>
          <a:p>
            <a:pPr algn="l" rtl="0"/>
            <a:r>
              <a:rPr lang="ru-RU" b="0" i="0" u="none" baseline="0">
                <a:solidFill>
                  <a:prstClr val="black"/>
                </a:solidFill>
              </a:rPr>
              <a:t>DCO-AAA123-20100121-</a:t>
            </a:r>
          </a:p>
        </p:txBody>
      </p:sp>
      <p:sp>
        <p:nvSpPr>
          <p:cNvPr id="4403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1119" y="5343365"/>
            <a:ext cx="5799509" cy="263377"/>
          </a:xfrm>
          <a:noFill/>
          <a:ln/>
        </p:spPr>
        <p:txBody>
          <a:bodyPr>
            <a:normAutofit lnSpcReduction="10000"/>
          </a:bodyPr>
          <a:lstStyle/>
          <a:p>
            <a:pPr algn="l" rtl="0" eaLnBrk="1" hangingPunct="1"/>
            <a:r>
              <a:rPr lang="ru-RU" b="0" i="0" u="none" baseline="0"/>
              <a:t>Добавить «Учреждение группы по управлению проектом (PMT)»</a:t>
            </a:r>
          </a:p>
        </p:txBody>
      </p:sp>
    </p:spTree>
    <p:extLst>
      <p:ext uri="{BB962C8B-B14F-4D97-AF65-F5344CB8AC3E}">
        <p14:creationId xmlns:p14="http://schemas.microsoft.com/office/powerpoint/2010/main" val="33842158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algn="r" rtl="0"/>
            <a:fld id="{99A6149F-73CA-474F-AA8B-FC576340568F}" type="slidenum">
              <a:rPr>
                <a:solidFill>
                  <a:prstClr val="black"/>
                </a:solidFill>
                <a:latin typeface="Calibri"/>
              </a:rPr>
              <a:pPr algn="r" rtl="0"/>
              <a:t>5</a:t>
            </a:fld>
            <a:endParaRPr lang="ru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4035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456136" y="102578"/>
            <a:ext cx="1157235" cy="131687"/>
          </a:xfrm>
          <a:noFill/>
        </p:spPr>
        <p:txBody>
          <a:bodyPr/>
          <a:lstStyle/>
          <a:p>
            <a:pPr algn="l" rtl="0"/>
            <a:r>
              <a:rPr lang="ru-RU" b="0" i="0" u="none" baseline="0">
                <a:solidFill>
                  <a:prstClr val="black"/>
                </a:solidFill>
                <a:latin typeface="Calibri"/>
              </a:rPr>
              <a:t>DCO-AAA123-20100121-</a:t>
            </a:r>
          </a:p>
        </p:txBody>
      </p:sp>
      <p:sp>
        <p:nvSpPr>
          <p:cNvPr id="4403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1119" y="5343365"/>
            <a:ext cx="5799509" cy="263377"/>
          </a:xfrm>
          <a:noFill/>
          <a:ln/>
        </p:spPr>
        <p:txBody>
          <a:bodyPr>
            <a:normAutofit lnSpcReduction="10000"/>
          </a:bodyPr>
          <a:lstStyle/>
          <a:p>
            <a:pPr algn="l" rtl="0" eaLnBrk="1" hangingPunct="1"/>
            <a:endParaRPr lang="ru" dirty="0" smtClean="0"/>
          </a:p>
        </p:txBody>
      </p:sp>
    </p:spTree>
    <p:extLst>
      <p:ext uri="{BB962C8B-B14F-4D97-AF65-F5344CB8AC3E}">
        <p14:creationId xmlns:p14="http://schemas.microsoft.com/office/powerpoint/2010/main" val="33842158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algn="r" rtl="0"/>
            <a:fld id="{99A6149F-73CA-474F-AA8B-FC576340568F}" type="slidenum">
              <a:rPr>
                <a:solidFill>
                  <a:prstClr val="black"/>
                </a:solidFill>
                <a:latin typeface="Calibri"/>
              </a:rPr>
              <a:pPr algn="r" rtl="0"/>
              <a:t>6</a:t>
            </a:fld>
            <a:endParaRPr lang="ru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4035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456136" y="102578"/>
            <a:ext cx="1157235" cy="131687"/>
          </a:xfrm>
          <a:noFill/>
        </p:spPr>
        <p:txBody>
          <a:bodyPr/>
          <a:lstStyle/>
          <a:p>
            <a:pPr algn="l" rtl="0"/>
            <a:r>
              <a:rPr lang="ru-RU" b="0" i="0" u="none" baseline="0">
                <a:solidFill>
                  <a:prstClr val="black"/>
                </a:solidFill>
                <a:latin typeface="Calibri"/>
              </a:rPr>
              <a:t>DCO-AAA123-20100121-</a:t>
            </a:r>
          </a:p>
        </p:txBody>
      </p:sp>
      <p:sp>
        <p:nvSpPr>
          <p:cNvPr id="4403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1119" y="5343365"/>
            <a:ext cx="5799509" cy="263377"/>
          </a:xfrm>
          <a:noFill/>
          <a:ln/>
        </p:spPr>
        <p:txBody>
          <a:bodyPr>
            <a:normAutofit lnSpcReduction="10000"/>
          </a:bodyPr>
          <a:lstStyle/>
          <a:p>
            <a:pPr algn="l" rtl="0" eaLnBrk="1" hangingPunct="1"/>
            <a:endParaRPr lang="ru" dirty="0" smtClean="0"/>
          </a:p>
        </p:txBody>
      </p:sp>
    </p:spTree>
    <p:extLst>
      <p:ext uri="{BB962C8B-B14F-4D97-AF65-F5344CB8AC3E}">
        <p14:creationId xmlns:p14="http://schemas.microsoft.com/office/powerpoint/2010/main" val="25172448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algn="r" rtl="0"/>
            <a:fld id="{99A6149F-73CA-474F-AA8B-FC576340568F}" type="slidenum">
              <a:rPr>
                <a:solidFill>
                  <a:prstClr val="black"/>
                </a:solidFill>
                <a:latin typeface="Calibri"/>
              </a:rPr>
              <a:pPr algn="r" rtl="0"/>
              <a:t>7</a:t>
            </a:fld>
            <a:endParaRPr lang="ru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4035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456136" y="102578"/>
            <a:ext cx="1157235" cy="131687"/>
          </a:xfrm>
          <a:noFill/>
        </p:spPr>
        <p:txBody>
          <a:bodyPr/>
          <a:lstStyle/>
          <a:p>
            <a:pPr algn="l" rtl="0"/>
            <a:r>
              <a:rPr lang="ru-RU" b="0" i="0" u="none" baseline="0">
                <a:solidFill>
                  <a:prstClr val="black"/>
                </a:solidFill>
                <a:latin typeface="Calibri"/>
              </a:rPr>
              <a:t>DCO-AAA123-20100121-</a:t>
            </a:r>
          </a:p>
        </p:txBody>
      </p:sp>
      <p:sp>
        <p:nvSpPr>
          <p:cNvPr id="4403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1119" y="5343365"/>
            <a:ext cx="5799509" cy="263377"/>
          </a:xfrm>
          <a:noFill/>
          <a:ln/>
        </p:spPr>
        <p:txBody>
          <a:bodyPr>
            <a:normAutofit lnSpcReduction="10000"/>
          </a:bodyPr>
          <a:lstStyle/>
          <a:p>
            <a:pPr algn="l" rtl="0" eaLnBrk="1" hangingPunct="1"/>
            <a:endParaRPr lang="ru" dirty="0" smtClean="0"/>
          </a:p>
        </p:txBody>
      </p:sp>
    </p:spTree>
    <p:extLst>
      <p:ext uri="{BB962C8B-B14F-4D97-AF65-F5344CB8AC3E}">
        <p14:creationId xmlns:p14="http://schemas.microsoft.com/office/powerpoint/2010/main" val="14318651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32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l" rtl="0" eaLnBrk="1" hangingPunct="1">
              <a:spcBef>
                <a:spcPct val="0"/>
              </a:spcBef>
            </a:pPr>
            <a:endParaRPr lang="ru" smtClean="0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  <a:defRPr/>
            </a:pPr>
            <a:fld id="{249AEE69-3762-4E75-B491-E0095EF77471}" type="slidenum">
              <a:rPr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algn="l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ru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63765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32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l" rtl="0" eaLnBrk="1" hangingPunct="1">
              <a:spcBef>
                <a:spcPct val="0"/>
              </a:spcBef>
            </a:pPr>
            <a:endParaRPr lang="ru" smtClean="0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  <a:defRPr/>
            </a:pPr>
            <a:fld id="{249AEE69-3762-4E75-B491-E0095EF77471}" type="slidenum">
              <a:rPr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algn="l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ru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63765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4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25477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063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Picture 1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93795" y="349865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rtl="0" eaLnBrk="1" hangingPunct="1">
              <a:defRPr/>
            </a:pPr>
            <a:r>
              <a:rPr lang="en-GB" sz="900" b="1" kern="1200" dirty="0" smtClean="0">
                <a:solidFill>
                  <a:srgbClr val="1F1F1F"/>
                </a:solidFill>
                <a:ea typeface="ＭＳ Ｐゴシック"/>
                <a:cs typeface="+mn-cs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rtl="0" eaLnBrk="1" hangingPunct="1">
              <a:defRPr/>
            </a:pPr>
            <a:endParaRPr lang="en-GB" sz="800" kern="1200" dirty="0" smtClean="0">
              <a:solidFill>
                <a:srgbClr val="1F1F1F"/>
              </a:solidFill>
              <a:ea typeface="ＭＳ Ｐゴシック"/>
              <a:cs typeface="+mn-cs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93795" y="508600"/>
            <a:ext cx="3585365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rtl="0" eaLnBrk="1" hangingPunct="1">
              <a:defRPr/>
            </a:pPr>
            <a:r>
              <a:rPr lang="en-US" sz="900" kern="1200" smtClean="0">
                <a:solidFill>
                  <a:srgbClr val="1F1F1F"/>
                </a:solidFill>
                <a:ea typeface="ＭＳ Ｐゴシック"/>
                <a:cs typeface="+mn-cs"/>
              </a:rPr>
              <a:t>Last Modified 2013/05/06 10:48 AM W. Central Africa Standard Time</a:t>
            </a:r>
            <a:endParaRPr lang="en-GB" sz="900" kern="1200" dirty="0" smtClean="0">
              <a:solidFill>
                <a:srgbClr val="1F1F1F"/>
              </a:solidFill>
              <a:ea typeface="ＭＳ Ｐゴシック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93795" y="668956"/>
            <a:ext cx="3258233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rtl="0" eaLnBrk="1" hangingPunct="1">
              <a:defRPr/>
            </a:pPr>
            <a:r>
              <a:rPr lang="en-US" sz="900" kern="1200" smtClean="0">
                <a:solidFill>
                  <a:srgbClr val="1F1F1F"/>
                </a:solidFill>
                <a:ea typeface="ＭＳ Ｐゴシック"/>
                <a:cs typeface="+mn-cs"/>
              </a:rPr>
              <a:t>Printed 2013/05/03 01:00 PM W. Central Africa Standard Time</a:t>
            </a:r>
            <a:endParaRPr lang="en-GB" sz="900" kern="1200" dirty="0" smtClean="0">
              <a:solidFill>
                <a:srgbClr val="1F1F1F"/>
              </a:solidFill>
              <a:ea typeface="ＭＳ Ｐゴシック"/>
              <a:cs typeface="+mn-cs"/>
            </a:endParaRPr>
          </a:p>
        </p:txBody>
      </p:sp>
      <p:grpSp>
        <p:nvGrpSpPr>
          <p:cNvPr id="3" name="McK Title Elements"/>
          <p:cNvGrpSpPr>
            <a:grpSpLocks/>
          </p:cNvGrpSpPr>
          <p:nvPr>
            <p:custDataLst>
              <p:tags r:id="rId7"/>
            </p:custDataLst>
          </p:nvPr>
        </p:nvGrpSpPr>
        <p:grpSpPr bwMode="gray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gray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rtl="0" eaLnBrk="1" hangingPunct="1">
                <a:defRPr/>
              </a:pPr>
              <a:r>
                <a:rPr lang="en-GB" sz="1400" kern="1200" dirty="0" smtClean="0">
                  <a:solidFill>
                    <a:srgbClr val="1F1F1F"/>
                  </a:solidFill>
                  <a:ea typeface="ＭＳ Ｐゴシック"/>
                  <a:cs typeface="+mn-cs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rtl="0" eaLnBrk="1" hangingPunct="1">
                <a:defRPr/>
              </a:pPr>
              <a:r>
                <a:rPr lang="en-GB" sz="1400" kern="1200" dirty="0" smtClean="0">
                  <a:solidFill>
                    <a:srgbClr val="1F1F1F"/>
                  </a:solidFill>
                  <a:ea typeface="ＭＳ Ｐゴシック"/>
                  <a:cs typeface="+mn-cs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gray">
            <a:xfrm>
              <a:off x="1663" y="3714"/>
              <a:ext cx="2777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algn="l" defTabSz="821202" rtl="0" eaLnBrk="0" hangingPunct="0"/>
              <a:r>
                <a:rPr lang="en-GB" sz="800" kern="1200" dirty="0">
                  <a:solidFill>
                    <a:srgbClr val="1F1F1F"/>
                  </a:solidFill>
                  <a:latin typeface="Arial"/>
                  <a:ea typeface="ＭＳ Ｐゴシック"/>
                  <a:cs typeface="+mn-cs"/>
                </a:rPr>
                <a:t>CONFIDENTIAL AND PROPRIETARY</a:t>
              </a:r>
            </a:p>
            <a:p>
              <a:pPr algn="l" defTabSz="821202" rtl="0" eaLnBrk="0" hangingPunct="0"/>
              <a:r>
                <a:rPr lang="en-GB" sz="800" kern="1200" dirty="0">
                  <a:solidFill>
                    <a:srgbClr val="1F1F1F"/>
                  </a:solidFill>
                  <a:latin typeface="Arial"/>
                  <a:ea typeface="ＭＳ Ｐゴシック"/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gray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 rtl="0"/>
              <a:endParaRPr lang="en-GB" kern="1200" dirty="0">
                <a:solidFill>
                  <a:srgbClr val="1F1F1F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gray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 rtl="0"/>
              <a:endParaRPr lang="en-GB" kern="1200" dirty="0">
                <a:solidFill>
                  <a:srgbClr val="1F1F1F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gray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l" rtl="0"/>
              <a:endParaRPr lang="en-GB" kern="1200" dirty="0">
                <a:solidFill>
                  <a:srgbClr val="1F1F1F"/>
                </a:solidFill>
                <a:latin typeface="Arial"/>
                <a:ea typeface="ＭＳ Ｐゴシック"/>
                <a:cs typeface="+mn-cs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9"/>
            </p:custDataLst>
          </p:nvPr>
        </p:nvSpPr>
        <p:spPr bwMode="gray">
          <a:xfrm>
            <a:off x="2693796" y="1196724"/>
            <a:ext cx="6221807" cy="507831"/>
          </a:xfrm>
          <a:prstGeom prst="rect">
            <a:avLst/>
          </a:prstGeom>
        </p:spPr>
        <p:txBody>
          <a:bodyPr/>
          <a:lstStyle>
            <a:lvl1pPr>
              <a:defRPr sz="3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0"/>
            </p:custDataLst>
          </p:nvPr>
        </p:nvSpPr>
        <p:spPr bwMode="gray">
          <a:xfrm>
            <a:off x="2693795" y="3945699"/>
            <a:ext cx="5036084" cy="219820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489" y="234863"/>
            <a:ext cx="8794113" cy="2983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l" rtl="0"/>
            <a:fld id="{42C328C1-A84F-4A39-A664-DBA00541A8C6}" type="slidenum">
              <a:rPr lang="en-US" kern="1200" smtClean="0">
                <a:solidFill>
                  <a:srgbClr val="1F1F1F"/>
                </a:solidFill>
                <a:latin typeface="Arial"/>
                <a:ea typeface="ＭＳ Ｐゴシック"/>
                <a:cs typeface="+mn-cs"/>
              </a:rPr>
              <a:pPr algn="l" rtl="0"/>
              <a:t>‹#›</a:t>
            </a:fld>
            <a:endParaRPr lang="en-US" kern="1200" dirty="0">
              <a:solidFill>
                <a:srgbClr val="1F1F1F"/>
              </a:solidFill>
              <a:latin typeface="Arial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855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image" Target="../media/image3.emf"/><Relationship Id="rId5" Type="http://schemas.openxmlformats.org/officeDocument/2006/relationships/tags" Target="../tags/tag2.xml"/><Relationship Id="rId10" Type="http://schemas.openxmlformats.org/officeDocument/2006/relationships/image" Target="../media/image2.emf"/><Relationship Id="rId4" Type="http://schemas.openxmlformats.org/officeDocument/2006/relationships/vmlDrawing" Target="../drawings/vmlDrawing1.v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20445955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04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1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gray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rtl="0"/>
            <a:endParaRPr lang="en-GB" sz="800" kern="1200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73858" y="1980006"/>
            <a:ext cx="2397735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rtl="0" eaLnBrk="1" hangingPunct="1">
              <a:defRPr/>
            </a:pPr>
            <a:r>
              <a:rPr lang="en-US" sz="600" kern="1200" smtClean="0">
                <a:solidFill>
                  <a:srgbClr val="1F1F1F"/>
                </a:solidFill>
                <a:ea typeface="ＭＳ Ｐゴシック"/>
                <a:cs typeface="+mn-cs"/>
              </a:rPr>
              <a:t>Last Modified 2013/05/06 10:48 AM W. Central Africa Standard Time</a:t>
            </a:r>
            <a:endParaRPr lang="en-GB" kern="1200" dirty="0" smtClean="0">
              <a:solidFill>
                <a:srgbClr val="1F1F1F"/>
              </a:solidFill>
              <a:ea typeface="ＭＳ Ｐゴシック"/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83442" y="4197986"/>
            <a:ext cx="2178570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rtl="0" eaLnBrk="1" hangingPunct="1">
              <a:defRPr/>
            </a:pPr>
            <a:r>
              <a:rPr lang="en-US" sz="600" kern="1200" smtClean="0">
                <a:solidFill>
                  <a:srgbClr val="1F1F1F"/>
                </a:solidFill>
                <a:ea typeface="ＭＳ Ｐゴシック"/>
                <a:cs typeface="+mn-cs"/>
              </a:rPr>
              <a:t>Printed 2013/05/03 01:00 PM W. Central Africa Standard Time</a:t>
            </a:r>
            <a:endParaRPr lang="en-GB" kern="1200" dirty="0" smtClean="0">
              <a:solidFill>
                <a:srgbClr val="1F1F1F"/>
              </a:solidFill>
              <a:ea typeface="ＭＳ Ｐゴシック"/>
              <a:cs typeface="+mn-cs"/>
            </a:endParaRP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l" rtl="0"/>
            <a:r>
              <a:rPr lang="en-GB" sz="1400" kern="1200" dirty="0">
                <a:solidFill>
                  <a:srgbClr val="808080"/>
                </a:solidFill>
                <a:latin typeface="Arial"/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542616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rtl="0">
              <a:defRPr/>
            </a:pPr>
            <a:r>
              <a:rPr lang="en-GB" sz="1600" kern="1200" dirty="0" smtClean="0">
                <a:solidFill>
                  <a:srgbClr val="808080"/>
                </a:solidFill>
                <a:ea typeface="ＭＳ Ｐゴシック"/>
                <a:cs typeface="+mn-cs"/>
              </a:rPr>
              <a:t>Unit of measure</a:t>
            </a:r>
          </a:p>
        </p:txBody>
      </p:sp>
      <p:grpSp>
        <p:nvGrpSpPr>
          <p:cNvPr id="3" name="McK Slide Elements" hidden="1"/>
          <p:cNvGrpSpPr>
            <a:grpSpLocks/>
          </p:cNvGrpSpPr>
          <p:nvPr/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rtl="0">
                <a:defRPr/>
              </a:pPr>
              <a:r>
                <a:rPr lang="en-GB" sz="1000" kern="1200" dirty="0" smtClean="0">
                  <a:solidFill>
                    <a:srgbClr val="1F1F1F"/>
                  </a:solidFill>
                  <a:ea typeface="ＭＳ Ｐゴシック"/>
                  <a:cs typeface="+mn-cs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algn="l" defTabSz="913526" rtl="0">
                <a:tabLst>
                  <a:tab pos="625214" algn="l"/>
                </a:tabLst>
              </a:pPr>
              <a:r>
                <a:rPr lang="en-GB" sz="1000" kern="120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SOURCE: Source</a:t>
              </a:r>
            </a:p>
          </p:txBody>
        </p:sp>
      </p:grpSp>
      <p:grpSp>
        <p:nvGrpSpPr>
          <p:cNvPr id="5" name="ACET" hidden="1"/>
          <p:cNvGrpSpPr>
            <a:grpSpLocks/>
          </p:cNvGrpSpPr>
          <p:nvPr/>
        </p:nvGrpSpPr>
        <p:grpSpPr bwMode="auto">
          <a:xfrm>
            <a:off x="148215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algn="l" rtl="0"/>
              <a:r>
                <a:rPr lang="en-GB" b="1" kern="1200" dirty="0">
                  <a:solidFill>
                    <a:srgbClr val="1F1F1F"/>
                  </a:solidFill>
                  <a:latin typeface="Arial"/>
                  <a:ea typeface="ＭＳ Ｐゴシック"/>
                  <a:cs typeface="+mn-cs"/>
                </a:rPr>
                <a:t>Title</a:t>
              </a:r>
            </a:p>
            <a:p>
              <a:pPr algn="l" rtl="0"/>
              <a:r>
                <a:rPr lang="en-GB" kern="1200" dirty="0">
                  <a:solidFill>
                    <a:srgbClr val="808080"/>
                  </a:solidFill>
                  <a:latin typeface="Arial"/>
                  <a:ea typeface="ＭＳ Ｐゴシック"/>
                  <a:cs typeface="+mn-cs"/>
                </a:rPr>
                <a:t>Unit of measure</a:t>
              </a:r>
            </a:p>
          </p:txBody>
        </p:sp>
      </p:grpSp>
      <p:sp>
        <p:nvSpPr>
          <p:cNvPr id="20" name="SlideLogoText" hidden="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232588" y="6566446"/>
            <a:ext cx="1269955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rtl="0"/>
            <a:r>
              <a:rPr lang="en-US" sz="1000" kern="1200" dirty="0">
                <a:solidFill>
                  <a:srgbClr val="1F1F1F"/>
                </a:solidFill>
                <a:latin typeface="Arial"/>
                <a:ea typeface="ＭＳ Ｐゴシック"/>
                <a:cs typeface="+mn-cs"/>
              </a:rPr>
              <a:t>McKinsey &amp; Company</a:t>
            </a:r>
          </a:p>
        </p:txBody>
      </p:sp>
      <p:sp>
        <p:nvSpPr>
          <p:cNvPr id="21" name="SlideLogoSeparator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6534052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 rtl="0"/>
            <a:r>
              <a:rPr lang="en-US" sz="1200" kern="1200" dirty="0">
                <a:solidFill>
                  <a:srgbClr val="1F1F1F"/>
                </a:solidFill>
                <a:latin typeface="Arial"/>
                <a:ea typeface="ＭＳ Ｐゴシック"/>
                <a:cs typeface="+mn-cs"/>
              </a:rPr>
              <a:t>|</a:t>
            </a:r>
          </a:p>
        </p:txBody>
      </p:sp>
      <p:sp>
        <p:nvSpPr>
          <p:cNvPr id="4" name="Rectangle 3"/>
          <p:cNvSpPr/>
          <p:nvPr/>
        </p:nvSpPr>
        <p:spPr bwMode="gray">
          <a:xfrm>
            <a:off x="0" y="6400584"/>
            <a:ext cx="9144000" cy="25712"/>
          </a:xfrm>
          <a:prstGeom prst="rect">
            <a:avLst/>
          </a:prstGeom>
          <a:gradFill flip="none" rotWithShape="1">
            <a:gsLst>
              <a:gs pos="100000">
                <a:srgbClr val="00589F"/>
              </a:gs>
              <a:gs pos="0">
                <a:srgbClr val="FFFFFF"/>
              </a:gs>
            </a:gsLst>
            <a:lin ang="0" scaled="0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rtl="0"/>
            <a:endParaRPr lang="en-US" kern="1200" dirty="0" err="1">
              <a:ln>
                <a:solidFill>
                  <a:schemeClr val="tx2"/>
                </a:solidFill>
              </a:ln>
              <a:solidFill>
                <a:srgbClr val="1F1F1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0" y="0"/>
            <a:ext cx="9164320" cy="523220"/>
          </a:xfrm>
          <a:prstGeom prst="rect">
            <a:avLst/>
          </a:prstGeom>
          <a:solidFill>
            <a:srgbClr val="0091CF"/>
          </a:solidFill>
        </p:spPr>
        <p:txBody>
          <a:bodyPr wrap="square" rtlCol="0" anchor="t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800" b="1" dirty="0" smtClean="0">
                <a:solidFill>
                  <a:srgbClr val="99C837"/>
                </a:solidFill>
                <a:latin typeface="Arial" pitchFamily="34" charset="0"/>
                <a:cs typeface="Arial" pitchFamily="34" charset="0"/>
              </a:rPr>
              <a:t> </a:t>
            </a:r>
            <a:endParaRPr lang="x-none" sz="1600" b="1" dirty="0">
              <a:solidFill>
                <a:srgbClr val="99C837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6965109" y="6530380"/>
            <a:ext cx="642450" cy="241605"/>
          </a:xfrm>
          <a:prstGeom prst="rect">
            <a:avLst/>
          </a:prstGeom>
        </p:spPr>
      </p:pic>
      <p:pic>
        <p:nvPicPr>
          <p:cNvPr id="7" name="Picture 6" descr="logo_blue.eps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9310" y="6558006"/>
            <a:ext cx="810445" cy="19725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</p:sldLayoutIdLst>
  <p:timing>
    <p:tnLst>
      <p:par>
        <p:cTn id="1" dur="indefinite" restart="never" nodeType="tmRoot"/>
      </p:par>
    </p:tnLst>
  </p:timing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9298" algn="l"/>
        </a:tabLst>
        <a:defRPr sz="1900" b="1">
          <a:solidFill>
            <a:schemeClr val="accent4">
              <a:lumMod val="50000"/>
            </a:schemeClr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13" Type="http://schemas.openxmlformats.org/officeDocument/2006/relationships/image" Target="../media/image6.emf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oleObject" Target="../embeddings/oleObject3.bin"/><Relationship Id="rId2" Type="http://schemas.openxmlformats.org/officeDocument/2006/relationships/tags" Target="../tags/tag14.xml"/><Relationship Id="rId16" Type="http://schemas.openxmlformats.org/officeDocument/2006/relationships/image" Target="../media/image11.emf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8.emf"/><Relationship Id="rId5" Type="http://schemas.openxmlformats.org/officeDocument/2006/relationships/tags" Target="../tags/tag17.xml"/><Relationship Id="rId15" Type="http://schemas.openxmlformats.org/officeDocument/2006/relationships/image" Target="../media/image10.emf"/><Relationship Id="rId10" Type="http://schemas.openxmlformats.org/officeDocument/2006/relationships/image" Target="../media/image7.png"/><Relationship Id="rId4" Type="http://schemas.openxmlformats.org/officeDocument/2006/relationships/tags" Target="../tags/tag16.xml"/><Relationship Id="rId9" Type="http://schemas.openxmlformats.org/officeDocument/2006/relationships/notesSlide" Target="../notesSlides/notesSlide1.xml"/><Relationship Id="rId14" Type="http://schemas.openxmlformats.org/officeDocument/2006/relationships/image" Target="../media/image9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78.xml"/><Relationship Id="rId7" Type="http://schemas.openxmlformats.org/officeDocument/2006/relationships/image" Target="../media/image17.emf"/><Relationship Id="rId2" Type="http://schemas.openxmlformats.org/officeDocument/2006/relationships/tags" Target="../tags/tag77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80.xml"/><Relationship Id="rId7" Type="http://schemas.openxmlformats.org/officeDocument/2006/relationships/oleObject" Target="../embeddings/oleObject13.bin"/><Relationship Id="rId2" Type="http://schemas.openxmlformats.org/officeDocument/2006/relationships/tags" Target="../tags/tag79.xml"/><Relationship Id="rId1" Type="http://schemas.openxmlformats.org/officeDocument/2006/relationships/vmlDrawing" Target="../drawings/vmlDrawing13.v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1.xml"/><Relationship Id="rId9" Type="http://schemas.openxmlformats.org/officeDocument/2006/relationships/image" Target="../media/image11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83.xml"/><Relationship Id="rId7" Type="http://schemas.openxmlformats.org/officeDocument/2006/relationships/image" Target="../media/image17.emf"/><Relationship Id="rId2" Type="http://schemas.openxmlformats.org/officeDocument/2006/relationships/tags" Target="../tags/tag8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85.xml"/><Relationship Id="rId7" Type="http://schemas.openxmlformats.org/officeDocument/2006/relationships/image" Target="../media/image17.emf"/><Relationship Id="rId2" Type="http://schemas.openxmlformats.org/officeDocument/2006/relationships/tags" Target="../tags/tag84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87.xml"/><Relationship Id="rId7" Type="http://schemas.openxmlformats.org/officeDocument/2006/relationships/notesSlide" Target="../notesSlides/notesSlide13.xml"/><Relationship Id="rId2" Type="http://schemas.openxmlformats.org/officeDocument/2006/relationships/tags" Target="../tags/tag86.xml"/><Relationship Id="rId1" Type="http://schemas.openxmlformats.org/officeDocument/2006/relationships/vmlDrawing" Target="../drawings/vmlDrawing16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89.xml"/><Relationship Id="rId10" Type="http://schemas.openxmlformats.org/officeDocument/2006/relationships/image" Target="../media/image11.emf"/><Relationship Id="rId4" Type="http://schemas.openxmlformats.org/officeDocument/2006/relationships/tags" Target="../tags/tag88.xml"/><Relationship Id="rId9" Type="http://schemas.openxmlformats.org/officeDocument/2006/relationships/image" Target="../media/image17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91.xml"/><Relationship Id="rId7" Type="http://schemas.openxmlformats.org/officeDocument/2006/relationships/image" Target="../media/image18.emf"/><Relationship Id="rId2" Type="http://schemas.openxmlformats.org/officeDocument/2006/relationships/tags" Target="../tags/tag90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image" Target="../media/image11.emf"/><Relationship Id="rId2" Type="http://schemas.openxmlformats.org/officeDocument/2006/relationships/tags" Target="../tags/tag9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tags" Target="../tags/tag95.xml"/><Relationship Id="rId7" Type="http://schemas.openxmlformats.org/officeDocument/2006/relationships/image" Target="../media/image18.emf"/><Relationship Id="rId2" Type="http://schemas.openxmlformats.org/officeDocument/2006/relationships/tags" Target="../tags/tag9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22.emf"/><Relationship Id="rId4" Type="http://schemas.openxmlformats.org/officeDocument/2006/relationships/tags" Target="../tags/tag96.xml"/><Relationship Id="rId9" Type="http://schemas.openxmlformats.org/officeDocument/2006/relationships/image" Target="../media/image21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image" Target="../media/image11.emf"/><Relationship Id="rId2" Type="http://schemas.openxmlformats.org/officeDocument/2006/relationships/tags" Target="../tags/tag97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01.xml"/><Relationship Id="rId11" Type="http://schemas.openxmlformats.org/officeDocument/2006/relationships/image" Target="../media/image23.emf"/><Relationship Id="rId5" Type="http://schemas.openxmlformats.org/officeDocument/2006/relationships/tags" Target="../tags/tag100.xml"/><Relationship Id="rId10" Type="http://schemas.openxmlformats.org/officeDocument/2006/relationships/oleObject" Target="../embeddings/oleObject20.bin"/><Relationship Id="rId4" Type="http://schemas.openxmlformats.org/officeDocument/2006/relationships/tags" Target="../tags/tag99.xml"/><Relationship Id="rId9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1.xml"/><Relationship Id="rId7" Type="http://schemas.openxmlformats.org/officeDocument/2006/relationships/image" Target="../media/image1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notesSlide" Target="../notesSlides/notesSlide3.xml"/><Relationship Id="rId3" Type="http://schemas.openxmlformats.org/officeDocument/2006/relationships/tags" Target="../tags/tag23.xml"/><Relationship Id="rId21" Type="http://schemas.openxmlformats.org/officeDocument/2006/relationships/tags" Target="../tags/tag41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29" Type="http://schemas.openxmlformats.org/officeDocument/2006/relationships/image" Target="../media/image11.emf"/><Relationship Id="rId1" Type="http://schemas.openxmlformats.org/officeDocument/2006/relationships/vmlDrawing" Target="../drawings/vmlDrawing5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tags" Target="../tags/tag44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tags" Target="../tags/tag43.xml"/><Relationship Id="rId28" Type="http://schemas.openxmlformats.org/officeDocument/2006/relationships/image" Target="../media/image12.emf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tags" Target="../tags/tag42.xml"/><Relationship Id="rId27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tags" Target="../tags/tag56.xml"/><Relationship Id="rId18" Type="http://schemas.openxmlformats.org/officeDocument/2006/relationships/tags" Target="../tags/tag61.xml"/><Relationship Id="rId26" Type="http://schemas.openxmlformats.org/officeDocument/2006/relationships/notesSlide" Target="../notesSlides/notesSlide4.xml"/><Relationship Id="rId3" Type="http://schemas.openxmlformats.org/officeDocument/2006/relationships/tags" Target="../tags/tag46.xml"/><Relationship Id="rId21" Type="http://schemas.openxmlformats.org/officeDocument/2006/relationships/tags" Target="../tags/tag64.xml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45.xml"/><Relationship Id="rId16" Type="http://schemas.openxmlformats.org/officeDocument/2006/relationships/tags" Target="../tags/tag59.xml"/><Relationship Id="rId20" Type="http://schemas.openxmlformats.org/officeDocument/2006/relationships/tags" Target="../tags/tag63.xml"/><Relationship Id="rId29" Type="http://schemas.openxmlformats.org/officeDocument/2006/relationships/image" Target="../media/image11.emf"/><Relationship Id="rId1" Type="http://schemas.openxmlformats.org/officeDocument/2006/relationships/vmlDrawing" Target="../drawings/vmlDrawing6.v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24" Type="http://schemas.openxmlformats.org/officeDocument/2006/relationships/tags" Target="../tags/tag67.xml"/><Relationship Id="rId5" Type="http://schemas.openxmlformats.org/officeDocument/2006/relationships/tags" Target="../tags/tag48.xml"/><Relationship Id="rId15" Type="http://schemas.openxmlformats.org/officeDocument/2006/relationships/tags" Target="../tags/tag58.xml"/><Relationship Id="rId23" Type="http://schemas.openxmlformats.org/officeDocument/2006/relationships/tags" Target="../tags/tag66.xml"/><Relationship Id="rId28" Type="http://schemas.openxmlformats.org/officeDocument/2006/relationships/image" Target="../media/image12.emf"/><Relationship Id="rId10" Type="http://schemas.openxmlformats.org/officeDocument/2006/relationships/tags" Target="../tags/tag53.xml"/><Relationship Id="rId19" Type="http://schemas.openxmlformats.org/officeDocument/2006/relationships/tags" Target="../tags/tag62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Relationship Id="rId22" Type="http://schemas.openxmlformats.org/officeDocument/2006/relationships/tags" Target="../tags/tag65.xml"/><Relationship Id="rId27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emf"/><Relationship Id="rId2" Type="http://schemas.openxmlformats.org/officeDocument/2006/relationships/tags" Target="../tags/tag6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4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12.emf"/><Relationship Id="rId2" Type="http://schemas.openxmlformats.org/officeDocument/2006/relationships/tags" Target="../tags/tag6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2" Type="http://schemas.openxmlformats.org/officeDocument/2006/relationships/tags" Target="../tags/tag7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73.xml"/><Relationship Id="rId7" Type="http://schemas.openxmlformats.org/officeDocument/2006/relationships/image" Target="../media/image16.emf"/><Relationship Id="rId2" Type="http://schemas.openxmlformats.org/officeDocument/2006/relationships/tags" Target="../tags/tag72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76.xml"/><Relationship Id="rId7" Type="http://schemas.openxmlformats.org/officeDocument/2006/relationships/image" Target="../media/image17.emf"/><Relationship Id="rId2" Type="http://schemas.openxmlformats.org/officeDocument/2006/relationships/tags" Target="../tags/tag75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Picture1.png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591" b="720"/>
          <a:stretch/>
        </p:blipFill>
        <p:spPr>
          <a:xfrm>
            <a:off x="3733800" y="0"/>
            <a:ext cx="5410200" cy="516934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0" y="1"/>
            <a:ext cx="6919804" cy="515141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0" y="5151411"/>
            <a:ext cx="9144000" cy="170658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 rtl="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ru" dirty="0" smtClean="0"/>
          </a:p>
        </p:txBody>
      </p:sp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158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Picture 1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9572" name="AutoShape 4" descr="data:image/jpeg;base64,/9j/4AAQSkZJRgABAQAAAQABAAD/2wCEAAkGBw8HBhMIEhQWFhUVGBoYFxYXGRoWHhQWJR0eISAdFhgbHSggGhoxGx8cJT0lJSkrLzgvICQzRD8tNy45Li0BCgoKDg0OGhAQGjQmICUtNCsvMCw0LC02LCw0NCs1NTQsNSw4LCssLSwrNTQtLDc3Nyw3Ly8sLCw3LCw1KywsN//AABEIAI4AjgMBIgACEQEDEQH/xAAaAAEAAwEBAQAAAAAAAAAAAAAAAwQFAQIG/8QALxAAAgEDAwIFAwQCAwAAAAAAAQIAAwQRBRIhMUETIlFxgRRhkRUycqEGgiNCUv/EABkBAQEBAAMAAAAAAAAAAAAAAAABAgMEBv/EACIRAQEBAAEDAwUAAAAAAAAAAAABEQISITETwfAiQVFx0f/aAAwDAQACEQMRAD8A+OiInSevIiICIiAiIgIiICIiAiIgIiICIiAiIgIiICIiAiIgIiICIiAiIgIiICIiAiIgIiICIiAiIgIiICIiAiIgIiICIiAiJe0eyW/rvTYkbab1OMHJUZxzKlsk2qMTUfSd+qJZU3zvQONwwV8hcq4GcMAD/Up/Sn9OF7kYLmnjvkKG/GCIxJzlV4lm8tDarTYkHxEDjHYHPX78SNaDNQat2GOvck9vWF2eUUTQp6W1TQm1QHhavhsvou1Tu9ssB8icq6aaOiJqRP76hQL6LtyGPuQ3wM94xOueyhE07nSfp9SXT/EUuzIh4Pl3YwfuORIKFgat3Ut9wHhrVYnnkIpY4+FMYTnLNU4lt9OqJpq6hjKMSCRyUOSBuHYHBwfsZOmk7mfNQAJSWsTgnyttwAPXzCMOvizYly509qNst0pDo5Khl7P/AOWB5Vsc+08ajZPp92bZ8ZAB45BBAIIPsYxZylVoiJFIiICan+PXSWl47u20NSqICAThmGB0mXEsTlx6pj6ChqtL9RtqlRiTSp1EqVcHLkq4X7nAZRkyjbvSfQhaM+1xWL9CRs2KvUd8g8TNiNZ9OT5+/wCtTUqtK5taDB/MlFUZcH94J4B6YweskudXL5FE1BkDynGKYHamBnjPc4/PMx5s6pu061tlpkqr0VqFl4LuSd2WHJwRtx2xLrN4yZHrT9RpWdGjbtk02FVLhQMEK5AyvqwCqw+4xPFxqNO70etbE7SatN6S44CKrJjPY7SP7kla0qNq6NcFXC0kqtghQ1MDKqzHGCeAT95LQtFtNefTyiOm2tURmUMSvgO9PDegwvTjrL3Y+nz9/Pu7qepUrjXaV2Kuaa1aTY2EFVXbuOcc9Okq0q1CjqNat4mRUp3KjykYLoypn5b4xJNNVbrT69yVoKymkAWXCjJIPAB6+0htqCXGjVKlPYaib2qIw83hcYekT2U5yBz35EEkkz8dnLfU/oqFHbhvK6VqbA7XQuTtPweo5Bln622arcKrMqPbpSp7hk5BpnDY/gRmUtMt1a3eucFtyU6asMqXJ/7fA/uWU/x5qly1AOp2hSTg4GSevso3e2JO68ujbrlle0rS2Ftu3AOaxJU4LqhCIB6Fup9JDqV6uo2NKqxArJuRgFwGp53KeOMglh7Yilo7VbNK4blyoCEEHLMyjJ7ftz7S22hF3p2gI4Xe9XaejHyjHUgKu7/Y9+I7m8Jd1gxNKnp2KK1ietN6pDK2AikgZIIOSQOnTcs9/ojK6Uy4BZWJHXbhQefckL/LjmTK5PU4sqJPe2/0t29vnO0kZxjPwZBI3LvciIgIiICXaGp1aVn9Gdr0wSQrqHCk9SueVz9jKUQlkvldutVrXW7cV8yopwqjCr+0LgcD2nU1WslWnVBGadM0lJVT/wAZDKQeOfKxGT2lGJdTo4+MWrS/e0oPQAUq+0srKGztOR16czgvXWkaYCjIZSQoB2kkkZ9OT8cdJWiNXpiVq5aiKPAAOeO7dMn74E8eI2ScnnryefeeYkXHoOR3P5/EeI3qfyZ5iB3cfU+nx6e07vOc5Pp17TzEDpOTmciICIiAiIgIiICIiAiIgIiICIiAiIgIiICIiAiIgIiICIiAiIgIiICIiAiIgIiICIiAiIgIiICIiAiIgIiICIiAiIgIiIH/2Q==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155576" y="-144462"/>
            <a:ext cx="304800" cy="304801"/>
          </a:xfrm>
          <a:prstGeom prst="rect">
            <a:avLst/>
          </a:prstGeom>
          <a:noFill/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algn="l" rtl="0"/>
            <a:endParaRPr lang="ru" kern="120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09574" name="AutoShape 6" descr="data:image/jpeg;base64,/9j/4AAQSkZJRgABAQAAAQABAAD/2wCEAAkGBw8HBhMIEhQWFhUVGBoYFxYXGRoWHhQWJR0eISAdFhgbHSggGhoxGx8cJT0lJSkrLzgvICQzRD8tNy45Li0BCgoKDg0OGhAQGjQmICUtNCsvMCw0LC02LCw0NCs1NTQsNSw4LCssLSwrNTQtLDc3Nyw3Ly8sLCw3LCw1KywsN//AABEIAI4AjgMBIgACEQEDEQH/xAAaAAEAAwEBAQAAAAAAAAAAAAAAAwQFAQIG/8QALxAAAgEDAwIFAwQCAwAAAAAAAQIAAwQRBRIhMUETIlFxgRRhkRUycqEGgiNCUv/EABkBAQEBAAMAAAAAAAAAAAAAAAABAgMEBv/EACIRAQEBAAEDAwUAAAAAAAAAAAABEQISITETwfAiQVFx0f/aAAwDAQACEQMRAD8A+OiInSevIiICIiAiIgIiICIiAiIgIiICIiAiIgIiICIiAiIgIiICIiAiIgIiICIiAiIgIiICIiAiIgIiICIiAiIgIiICIiAiJe0eyW/rvTYkbab1OMHJUZxzKlsk2qMTUfSd+qJZU3zvQONwwV8hcq4GcMAD/Up/Sn9OF7kYLmnjvkKG/GCIxJzlV4lm8tDarTYkHxEDjHYHPX78SNaDNQat2GOvck9vWF2eUUTQp6W1TQm1QHhavhsvou1Tu9ssB8icq6aaOiJqRP76hQL6LtyGPuQ3wM94xOueyhE07nSfp9SXT/EUuzIh4Pl3YwfuORIKFgat3Ut9wHhrVYnnkIpY4+FMYTnLNU4lt9OqJpq6hjKMSCRyUOSBuHYHBwfsZOmk7mfNQAJSWsTgnyttwAPXzCMOvizYly509qNst0pDo5Khl7P/AOWB5Vsc+08ajZPp92bZ8ZAB45BBAIIPsYxZylVoiJFIiICan+PXSWl47u20NSqICAThmGB0mXEsTlx6pj6ChqtL9RtqlRiTSp1EqVcHLkq4X7nAZRkyjbvSfQhaM+1xWL9CRs2KvUd8g8TNiNZ9OT5+/wCtTUqtK5taDB/MlFUZcH94J4B6YweskudXL5FE1BkDynGKYHamBnjPc4/PMx5s6pu061tlpkqr0VqFl4LuSd2WHJwRtx2xLrN4yZHrT9RpWdGjbtk02FVLhQMEK5AyvqwCqw+4xPFxqNO70etbE7SatN6S44CKrJjPY7SP7kla0qNq6NcFXC0kqtghQ1MDKqzHGCeAT95LQtFtNefTyiOm2tURmUMSvgO9PDegwvTjrL3Y+nz9/Pu7qepUrjXaV2Kuaa1aTY2EFVXbuOcc9Okq0q1CjqNat4mRUp3KjykYLoypn5b4xJNNVbrT69yVoKymkAWXCjJIPAB6+0htqCXGjVKlPYaib2qIw83hcYekT2U5yBz35EEkkz8dnLfU/oqFHbhvK6VqbA7XQuTtPweo5Bln622arcKrMqPbpSp7hk5BpnDY/gRmUtMt1a3eucFtyU6asMqXJ/7fA/uWU/x5qly1AOp2hSTg4GSevso3e2JO68ujbrlle0rS2Ftu3AOaxJU4LqhCIB6Fup9JDqV6uo2NKqxArJuRgFwGp53KeOMglh7Yilo7VbNK4blyoCEEHLMyjJ7ftz7S22hF3p2gI4Xe9XaejHyjHUgKu7/Y9+I7m8Jd1gxNKnp2KK1ietN6pDK2AikgZIIOSQOnTcs9/ojK6Uy4BZWJHXbhQefckL/LjmTK5PU4sqJPe2/0t29vnO0kZxjPwZBI3LvciIgIiICXaGp1aVn9Gdr0wSQrqHCk9SueVz9jKUQlkvldutVrXW7cV8yopwqjCr+0LgcD2nU1WslWnVBGadM0lJVT/wAZDKQeOfKxGT2lGJdTo4+MWrS/e0oPQAUq+0srKGztOR16czgvXWkaYCjIZSQoB2kkkZ9OT8cdJWiNXpiVq5aiKPAAOeO7dMn74E8eI2ScnnryefeeYkXHoOR3P5/EeI3qfyZ5iB3cfU+nx6e07vOc5Pp17TzEDpOTmciICIiAiIgIiICIiAiIgIiICIiAiIgIiICIiAiIgIiICIiAiIgIiICIiAiIgIiICIiAiIgIiICIiAiIgIiICIiAiIgIiIH/2Q=="/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155576" y="-144462"/>
            <a:ext cx="304800" cy="304801"/>
          </a:xfrm>
          <a:prstGeom prst="rect">
            <a:avLst/>
          </a:prstGeom>
          <a:noFill/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algn="l" rtl="0"/>
            <a:endParaRPr lang="ru" kern="120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Title 5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81000" y="838200"/>
            <a:ext cx="6324600" cy="990600"/>
          </a:xfrm>
          <a:prstGeom prst="rect">
            <a:avLst/>
          </a:prstGeom>
        </p:spPr>
        <p:txBody>
          <a:bodyPr lIns="91344" tIns="45671" rIns="91344" bIns="45671"/>
          <a:lstStyle/>
          <a:p>
            <a:pPr marL="0" marR="0" lvl="0" indent="0" algn="l" defTabSz="911521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ПЛАТФОРМА </a:t>
            </a:r>
            <a:r>
              <a:rPr lang="ru-RU" sz="2800" b="1" i="0" u="none" kern="0" baseline="0" dirty="0">
                <a:solidFill>
                  <a:schemeClr val="bg1"/>
                </a:solidFill>
                <a:latin typeface="Arial"/>
                <a:ea typeface="+mj-ea"/>
                <a:cs typeface="Arial"/>
              </a:rPr>
              <a:t>ОПТИМИЗАЦИИ ОБОРУДОВАНИЯ ХОЛОДОВОЙ ЦЕПИ</a:t>
            </a:r>
            <a:endParaRPr kumimoji="0" lang="ru" sz="28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68877" y="2237152"/>
            <a:ext cx="4146192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l" defTabSz="912330" rtl="0">
              <a:defRPr/>
            </a:pPr>
            <a:r>
              <a:rPr lang="ru-RU" sz="2200" b="0" i="0" u="none" kern="0" baseline="0" dirty="0">
                <a:solidFill>
                  <a:srgbClr val="FFFFFF"/>
                </a:solidFill>
                <a:latin typeface="Arial"/>
                <a:cs typeface="Arial"/>
              </a:rPr>
              <a:t>Руководство по оперативному развертыванию для стран</a:t>
            </a:r>
            <a:endParaRPr lang="ru" sz="2200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8" name="TextBox 33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309853" y="6002470"/>
            <a:ext cx="2667000" cy="338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0" tIns="45711" rIns="91420" bIns="45711">
            <a:spAutoFit/>
          </a:bodyPr>
          <a:lstStyle/>
          <a:p>
            <a:pPr algn="l" defTabSz="944363" rtl="0"/>
            <a:fld id="{BF43AC71-E6CE-452F-82A4-E5D2620D5435}" type="datetime4">
              <a:rPr lang="en-US" sz="1600" b="1">
                <a:solidFill>
                  <a:srgbClr val="00589F"/>
                </a:solidFill>
              </a:rPr>
              <a:pPr algn="l" defTabSz="944363" rtl="0"/>
              <a:t>May 23, 2017</a:t>
            </a:fld>
            <a:endParaRPr lang="ru" sz="1600" b="1" dirty="0">
              <a:solidFill>
                <a:srgbClr val="00589F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52400" y="5465191"/>
            <a:ext cx="2510905" cy="1303127"/>
          </a:xfrm>
          <a:prstGeom prst="rect">
            <a:avLst/>
          </a:prstGeom>
        </p:spPr>
      </p:pic>
      <p:pic>
        <p:nvPicPr>
          <p:cNvPr id="16" name="Picture 15" descr="logo_blue copy.eps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3200" y="5826760"/>
            <a:ext cx="2400300" cy="58420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68877" y="3048000"/>
            <a:ext cx="3822700" cy="5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763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50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0080559"/>
              </p:ext>
            </p:extLst>
          </p:nvPr>
        </p:nvGraphicFramePr>
        <p:xfrm>
          <a:off x="381000" y="631542"/>
          <a:ext cx="8458199" cy="5159658"/>
        </p:xfrm>
        <a:graphic>
          <a:graphicData uri="http://schemas.openxmlformats.org/drawingml/2006/table">
            <a:tbl>
              <a:tblPr firstRow="1" bandRow="1">
                <a:tableStyleId>{8FD4443E-F989-4FC4-A0C8-D5A2AF1F390B}</a:tableStyleId>
              </a:tblPr>
              <a:tblGrid>
                <a:gridCol w="2971800"/>
                <a:gridCol w="1066800"/>
                <a:gridCol w="762000"/>
                <a:gridCol w="3657599"/>
              </a:tblGrid>
              <a:tr h="457200">
                <a:tc>
                  <a:txBody>
                    <a:bodyPr/>
                    <a:lstStyle/>
                    <a:p>
                      <a:pPr algn="l" rtl="0"/>
                      <a:r>
                        <a:rPr lang="ru-RU" sz="1000" b="1" i="0" u="none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Риск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1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Вероятность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1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Воздействие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1" i="0" u="none" baseline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Стратегия управления</a:t>
                      </a:r>
                      <a:endParaRPr lang="ru" sz="10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46229"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Отсутствует документация о прохождении таможенного оформления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Средняя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Высокое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Связаться с сотрудниками таможни и обеспечить наличие всей необходимой документации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46229"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Не назначен таможенный агент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Средняя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Высокое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Связаться с Минздравом и обеспечить назначение таможенного агента перед поступлением продукции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Повреждение/кража продукции в процессе доставки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Низкая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Высокое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spc="0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Застраховать продукцию и рекомендовать маршруты с низким уровнем риска</a:t>
                      </a:r>
                      <a:endParaRPr lang="ru" sz="1000" spc="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ОХЦ поставлено в неправильное место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Средняя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Высокое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Обеспечить подачу точного плана развертывания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7651"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 Место установки недоступно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Средняя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Высокое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Обеспечить подачу точного плана развертывания</a:t>
                      </a: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48131"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Место установки находится в небезопасной зоне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Средняя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Высокое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Обеспечить подачу точного плана развертывания</a:t>
                      </a: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Оборудование доставлено в нерабочее время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Низкая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Средняя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Связаться с подрядчиком и уточнить рабочие часы учреждений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52400"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Учреждение закрыто во время поставки ОХЦ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Низкая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Высокое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Связаться с подрядчиком и уточнить рабочие часы учреждений</a:t>
                      </a: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46229"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Отсутствует надлежащий персонал для обучения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Средняя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Высокое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Обеспечить наличие в учреждениях здравоохранения информации о сроках проведения подрядчиками установки и обучения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4225"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Крыша не выдерживает солнечных батарей (SSD)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Средняя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Высокое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Обеспечить качественную оценку учреждений здравоохранения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4225"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Отсутствуют электрические розетки (ILR)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Средняя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Высокое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Обеспечить качественную оценку учреждений здравоохранения</a:t>
                      </a: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4225"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Учреждение уже оснащено функциональным холодильником для хранения вакцин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Низкая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Высокое</a:t>
                      </a:r>
                      <a:endParaRPr lang="ru" sz="10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ru-RU" sz="1000" b="0" i="0" u="none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Обеспечить качественную оценку учреждений здравоохранения</a:t>
                      </a:r>
                    </a:p>
                  </a:txBody>
                  <a:tcPr>
                    <a:lnL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</a:tbl>
          </a:graphicData>
        </a:graphic>
      </p:graphicFrame>
      <p:sp>
        <p:nvSpPr>
          <p:cNvPr id="28" name="TextBox 27"/>
          <p:cNvSpPr txBox="1"/>
          <p:nvPr/>
        </p:nvSpPr>
        <p:spPr>
          <a:xfrm>
            <a:off x="513080" y="6019800"/>
            <a:ext cx="847852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ru-RU" sz="900" b="1" i="0" u="none" baseline="0" dirty="0">
                <a:solidFill>
                  <a:srgbClr val="7F7F7F"/>
                </a:solidFill>
                <a:latin typeface="Arial"/>
                <a:cs typeface="Arial"/>
              </a:rPr>
              <a:t>Ниже приводится пример потенциальных рисков: Группа по управлению проектом должна оценить все риски и разработать стратегию управления для урегулирования последствий в случае риска с высоким уровнем воздействия и вероятности возникновения в соответствии с обстановкой в стране</a:t>
            </a:r>
          </a:p>
        </p:txBody>
      </p:sp>
      <p:pic>
        <p:nvPicPr>
          <p:cNvPr id="29" name="Picture 28"/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372806" y="1028930"/>
            <a:ext cx="8485633" cy="81036"/>
          </a:xfrm>
          <a:prstGeom prst="rect">
            <a:avLst/>
          </a:prstGeom>
        </p:spPr>
      </p:pic>
      <p:sp>
        <p:nvSpPr>
          <p:cNvPr id="33" name="Rectangle 32"/>
          <p:cNvSpPr/>
          <p:nvPr/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 rtl="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ru" dirty="0" smtClean="0"/>
          </a:p>
        </p:txBody>
      </p:sp>
      <p:sp>
        <p:nvSpPr>
          <p:cNvPr id="39" name="Title 1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56182" y="106680"/>
            <a:ext cx="848781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defTabSz="911135" rtl="0" fontAlgn="base">
              <a:spcBef>
                <a:spcPct val="0"/>
              </a:spcBef>
              <a:spcAft>
                <a:spcPct val="0"/>
              </a:spcAft>
              <a:tabLst>
                <a:tab pos="368907" algn="l"/>
              </a:tabLst>
              <a:defRPr/>
            </a:pPr>
            <a:r>
              <a:rPr lang="ru-RU" sz="1400" b="1" i="0" u="none" baseline="0" dirty="0">
                <a:solidFill>
                  <a:schemeClr val="bg1"/>
                </a:solidFill>
                <a:latin typeface="Arial Narrow"/>
                <a:cs typeface="Arial Narrow"/>
              </a:rPr>
              <a:t>Риски отклонения</a:t>
            </a:r>
            <a:endParaRPr lang="ru" sz="1400" b="1" dirty="0">
              <a:solidFill>
                <a:srgbClr val="FFFFFF"/>
              </a:solidFill>
              <a:latin typeface="Arial Narrow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3884925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2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13080" y="5817215"/>
            <a:ext cx="8409332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ru-RU" sz="1000" b="1" i="1" u="none" baseline="0" dirty="0">
                <a:solidFill>
                  <a:schemeClr val="bg1">
                    <a:lumMod val="50000"/>
                  </a:schemeClr>
                </a:solidFill>
                <a:cs typeface="Arial"/>
              </a:rPr>
              <a:t>(1) В системе оказания услуг в рамках ПООХЦ поставщик указывает цены на основании информации, представленной в плане оперативного развертывания. После утверждения соглашение о расходах становится имеющим законную силу контрактом — правительство гарантирует точность плана оперативного развертывания (ODP), а поставщик обязуется оказать пакет услуг по указанной цене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 bwMode="gray">
          <a:xfrm>
            <a:off x="609600" y="654535"/>
            <a:ext cx="8312812" cy="600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algn="just" defTabSz="685800" rtl="0"/>
            <a:r>
              <a:rPr lang="ru-RU" sz="1300" b="0" i="0" u="none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Стоимость пакета оказываемых в рамках ПООХЦ услуг основывается на плане оперативного развертывания.</a:t>
            </a:r>
            <a:r>
              <a:rPr lang="ru-RU" sz="1300" b="0" i="1" u="none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 </a:t>
            </a:r>
            <a:r>
              <a:rPr lang="ru-RU" sz="1300" b="0" i="1" u="none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Любое </a:t>
            </a:r>
            <a:r>
              <a:rPr lang="ru-RU" sz="1300" b="0" i="1" u="none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отклонение от этого плана влечет за собой дополнительные расходы, которые МОГУТ быть возложены на правительство страны.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 bwMode="gray">
          <a:xfrm>
            <a:off x="609600" y="1371600"/>
            <a:ext cx="831281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just" defTabSz="685800" rtl="0"/>
            <a:r>
              <a:rPr lang="ru-RU" b="1" i="0" u="none" baseline="0">
                <a:solidFill>
                  <a:srgbClr val="1F1F1F"/>
                </a:solidFill>
              </a:rPr>
              <a:t>Определение отклонения</a:t>
            </a:r>
            <a:endParaRPr lang="ru" b="1" dirty="0">
              <a:solidFill>
                <a:srgbClr val="1F1F1F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09600" y="1714938"/>
            <a:ext cx="8056880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l" defTabSz="685800" rtl="0">
              <a:buFont typeface="Arial" charset="0"/>
              <a:buChar char="•"/>
            </a:pPr>
            <a:r>
              <a:rPr lang="ru-RU" sz="1300" b="0" i="0" u="none" baseline="0" dirty="0">
                <a:solidFill>
                  <a:prstClr val="black"/>
                </a:solidFill>
                <a:latin typeface="Arial"/>
                <a:cs typeface="Arial"/>
              </a:rPr>
              <a:t>Ситуация, когда одно или более учреждений не получает оборудование согласно договоренностям между поставщиком и правительством, называется </a:t>
            </a:r>
            <a:r>
              <a:rPr lang="ru-RU" sz="1300" b="1" i="0" u="none" baseline="0" dirty="0">
                <a:solidFill>
                  <a:prstClr val="black"/>
                </a:solidFill>
                <a:latin typeface="Arial"/>
                <a:cs typeface="Arial"/>
              </a:rPr>
              <a:t>«отклонением»</a:t>
            </a:r>
            <a:r>
              <a:rPr lang="ru-RU" sz="1300" b="0" i="0" u="none" baseline="0" dirty="0">
                <a:solidFill>
                  <a:prstClr val="black"/>
                </a:solidFill>
                <a:latin typeface="Arial"/>
                <a:cs typeface="Arial"/>
              </a:rPr>
              <a:t>.</a:t>
            </a:r>
            <a:r>
              <a:rPr lang="ru-RU" sz="1300" b="1" i="0" u="none" baseline="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</a:p>
          <a:p>
            <a:pPr marL="285750" indent="-285750" algn="l" defTabSz="685800" rtl="0">
              <a:buFont typeface="Arial" charset="0"/>
              <a:buChar char="•"/>
            </a:pPr>
            <a:r>
              <a:rPr lang="ru-RU" sz="1300" b="1" i="0" u="none" baseline="0" dirty="0">
                <a:solidFill>
                  <a:prstClr val="black"/>
                </a:solidFill>
                <a:latin typeface="Arial"/>
                <a:cs typeface="Arial"/>
              </a:rPr>
              <a:t>Ответственность за оплату сопутствующих расходов может быть возложена на правительство</a:t>
            </a:r>
            <a:r>
              <a:rPr lang="ru-RU" sz="1300" b="0" i="0" u="none" baseline="0" dirty="0">
                <a:solidFill>
                  <a:prstClr val="black"/>
                </a:solidFill>
                <a:latin typeface="Arial"/>
                <a:cs typeface="Arial"/>
              </a:rPr>
              <a:t>, если отклонения вызваны предоставлением неточной информации (например, учреждение не готово к установке) поставщику или невыполнением иных обязательств.</a:t>
            </a:r>
            <a:r>
              <a:rPr lang="ru-RU" sz="1300" b="1" i="0" u="none" baseline="30000" dirty="0">
                <a:solidFill>
                  <a:prstClr val="black"/>
                </a:solidFill>
                <a:latin typeface="Arial"/>
                <a:cs typeface="Arial"/>
              </a:rPr>
              <a:t>1</a:t>
            </a:r>
          </a:p>
        </p:txBody>
      </p:sp>
      <p:sp>
        <p:nvSpPr>
          <p:cNvPr id="12" name="Rectangle 11"/>
          <p:cNvSpPr>
            <a:spLocks/>
          </p:cNvSpPr>
          <p:nvPr/>
        </p:nvSpPr>
        <p:spPr>
          <a:xfrm>
            <a:off x="579120" y="2905760"/>
            <a:ext cx="8343292" cy="2809240"/>
          </a:xfrm>
          <a:prstGeom prst="rect">
            <a:avLst/>
          </a:prstGeom>
          <a:noFill/>
          <a:ln w="19050" cmpd="sng">
            <a:solidFill>
              <a:srgbClr val="00589F"/>
            </a:solidFill>
            <a:headEnd/>
            <a:tailEnd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93276" tIns="46638" rIns="93276" bIns="46638" anchor="ctr">
            <a:noAutofit/>
          </a:bodyPr>
          <a:lstStyle/>
          <a:p>
            <a:pPr algn="l" rtl="0"/>
            <a:endParaRPr lang="ru" sz="1400" kern="1200" dirty="0" err="1">
              <a:solidFill>
                <a:srgbClr val="FFFFFF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13" name="Rectangle 3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791027" y="3010505"/>
            <a:ext cx="7544383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lvl="0" algn="l" defTabSz="895350" eaLnBrk="1" hangingPunct="1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85800" rtl="0"/>
            <a:r>
              <a:rPr lang="ru-RU" sz="1400" b="1" i="0" u="none" baseline="0">
                <a:cs typeface="Arial"/>
              </a:rPr>
              <a:t>Основные источники отклонений и ответственности</a:t>
            </a:r>
          </a:p>
        </p:txBody>
      </p:sp>
      <p:sp>
        <p:nvSpPr>
          <p:cNvPr id="14" name="Pentagon 13"/>
          <p:cNvSpPr/>
          <p:nvPr/>
        </p:nvSpPr>
        <p:spPr>
          <a:xfrm>
            <a:off x="791028" y="3469640"/>
            <a:ext cx="1952172" cy="998416"/>
          </a:xfrm>
          <a:prstGeom prst="homePlate">
            <a:avLst/>
          </a:prstGeom>
          <a:solidFill>
            <a:srgbClr val="00589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rtl="0"/>
            <a:r>
              <a:rPr lang="ru-RU" sz="1200" b="1" i="0" u="none" baseline="0">
                <a:solidFill>
                  <a:prstClr val="black"/>
                </a:solidFill>
                <a:latin typeface="Arial"/>
                <a:cs typeface="Arial"/>
              </a:rPr>
              <a:t>ПОСТАВЩИК </a:t>
            </a:r>
            <a:r>
              <a:rPr lang="ru-RU" sz="1200" b="0" i="0" u="none" baseline="0">
                <a:solidFill>
                  <a:prstClr val="black"/>
                </a:solidFill>
                <a:latin typeface="Arial"/>
                <a:cs typeface="Arial"/>
              </a:rPr>
              <a:t>несет ответственность за расходы, возникающие вследствие</a:t>
            </a:r>
            <a:endParaRPr lang="ru" sz="12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5" name="Pentagon 14"/>
          <p:cNvSpPr/>
          <p:nvPr/>
        </p:nvSpPr>
        <p:spPr>
          <a:xfrm>
            <a:off x="791028" y="4511903"/>
            <a:ext cx="1952172" cy="1048504"/>
          </a:xfrm>
          <a:prstGeom prst="homePlate">
            <a:avLst/>
          </a:prstGeom>
          <a:solidFill>
            <a:srgbClr val="00589F">
              <a:alpha val="5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rtl="0"/>
            <a:r>
              <a:rPr lang="ru-RU" sz="1200" b="1" i="0" u="none" baseline="0">
                <a:solidFill>
                  <a:prstClr val="black"/>
                </a:solidFill>
                <a:latin typeface="Arial"/>
                <a:cs typeface="Arial"/>
              </a:rPr>
              <a:t>ПРАВИТЕЛЬСТВО </a:t>
            </a:r>
            <a:r>
              <a:rPr lang="ru-RU" sz="1200" b="0" i="0" u="none" baseline="0">
                <a:solidFill>
                  <a:prstClr val="black"/>
                </a:solidFill>
                <a:latin typeface="Arial"/>
                <a:cs typeface="Arial"/>
              </a:rPr>
              <a:t>несет ответственность за следующие расходы</a:t>
            </a:r>
            <a:endParaRPr lang="ru" sz="12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819400" y="3479800"/>
            <a:ext cx="6019800" cy="998423"/>
          </a:xfrm>
          <a:prstGeom prst="rect">
            <a:avLst/>
          </a:prstGeom>
          <a:solidFill>
            <a:srgbClr val="00589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l" defTabSz="685800" rtl="0">
              <a:buFont typeface="Arial" charset="0"/>
              <a:buChar char="•"/>
            </a:pPr>
            <a:r>
              <a:rPr lang="ru-RU" sz="900" b="0" i="0" u="none" baseline="0" dirty="0">
                <a:solidFill>
                  <a:prstClr val="black"/>
                </a:solidFill>
                <a:latin typeface="Arial"/>
                <a:cs typeface="Arial"/>
              </a:rPr>
              <a:t>Задержек в результате работы оборудования или действий сотрудников вендора</a:t>
            </a:r>
          </a:p>
          <a:p>
            <a:pPr marL="285750" indent="-285750" algn="l" defTabSz="685800" rtl="0">
              <a:buFont typeface="Arial" charset="0"/>
              <a:buChar char="•"/>
            </a:pPr>
            <a:r>
              <a:rPr lang="ru-RU" sz="900" b="0" i="0" u="none" baseline="0" dirty="0">
                <a:solidFill>
                  <a:prstClr val="black"/>
                </a:solidFill>
                <a:latin typeface="Arial"/>
                <a:cs typeface="Arial"/>
              </a:rPr>
              <a:t>Задержек в результате неспособности надлежащим образом оценить потребности, описанные в плане оперативного развертывания (например, использования несоответствующего транспортного средства, отсутствия установок на мачтах)</a:t>
            </a:r>
            <a:endParaRPr lang="ru" sz="9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819400" y="4536440"/>
            <a:ext cx="6019800" cy="1048504"/>
          </a:xfrm>
          <a:prstGeom prst="rect">
            <a:avLst/>
          </a:prstGeom>
          <a:solidFill>
            <a:srgbClr val="00589F">
              <a:alpha val="5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l" defTabSz="685800" rtl="0">
              <a:buFont typeface="Arial" charset="0"/>
              <a:buChar char="•"/>
            </a:pPr>
            <a:r>
              <a:rPr lang="ru-RU" sz="900" b="0" i="0" u="none" baseline="0" dirty="0">
                <a:solidFill>
                  <a:prstClr val="black"/>
                </a:solidFill>
                <a:latin typeface="Arial"/>
                <a:cs typeface="Arial"/>
              </a:rPr>
              <a:t>Любые дополнительные </a:t>
            </a:r>
            <a:r>
              <a:rPr lang="ru-RU" sz="900" b="1" i="0" u="none" baseline="0" dirty="0">
                <a:solidFill>
                  <a:prstClr val="black"/>
                </a:solidFill>
                <a:latin typeface="Arial"/>
                <a:cs typeface="Arial"/>
              </a:rPr>
              <a:t>транспортные</a:t>
            </a:r>
            <a:r>
              <a:rPr lang="ru-RU" sz="900" b="0" i="0" u="none" baseline="0" dirty="0">
                <a:solidFill>
                  <a:prstClr val="black"/>
                </a:solidFill>
                <a:latin typeface="Arial"/>
                <a:cs typeface="Arial"/>
              </a:rPr>
              <a:t> расходы, связанные с неточностями в плане оперативного развертывания (ODP) (например, неверной информацией о расстоянии транспортировки, качестве дороги)</a:t>
            </a:r>
          </a:p>
          <a:p>
            <a:pPr marL="285750" indent="-285750" algn="l" defTabSz="685800" rtl="0">
              <a:buFont typeface="Arial" charset="0"/>
              <a:buChar char="•"/>
            </a:pPr>
            <a:r>
              <a:rPr lang="ru-RU" sz="900" b="0" i="0" u="none" baseline="0" dirty="0">
                <a:solidFill>
                  <a:prstClr val="black"/>
                </a:solidFill>
                <a:latin typeface="Arial"/>
                <a:cs typeface="Arial"/>
              </a:rPr>
              <a:t>Любые дополнительные расходы на установку, связанные с неточным </a:t>
            </a:r>
            <a:r>
              <a:rPr lang="ru-RU" sz="900" b="1" i="0" u="none" baseline="0" dirty="0">
                <a:solidFill>
                  <a:prstClr val="black"/>
                </a:solidFill>
                <a:latin typeface="Arial"/>
                <a:cs typeface="Arial"/>
              </a:rPr>
              <a:t>описанием мест установки</a:t>
            </a:r>
            <a:r>
              <a:rPr lang="ru-RU" sz="900" b="0" i="0" u="none" baseline="0" dirty="0">
                <a:solidFill>
                  <a:prstClr val="black"/>
                </a:solidFill>
                <a:latin typeface="Arial"/>
                <a:cs typeface="Arial"/>
              </a:rPr>
              <a:t> (например, если крыша не выдерживает солнечные батареи)</a:t>
            </a:r>
          </a:p>
          <a:p>
            <a:pPr marL="285750" indent="-285750" algn="l" defTabSz="685800" rtl="0">
              <a:buFont typeface="Arial" charset="0"/>
              <a:buChar char="•"/>
            </a:pPr>
            <a:r>
              <a:rPr lang="ru-RU" sz="900" b="0" i="0" u="none" baseline="0" dirty="0">
                <a:solidFill>
                  <a:prstClr val="black"/>
                </a:solidFill>
                <a:latin typeface="Arial"/>
                <a:cs typeface="Arial"/>
              </a:rPr>
              <a:t>Любые расходы, связанные с задержками из-за </a:t>
            </a:r>
            <a:r>
              <a:rPr lang="ru-RU" sz="900" b="1" i="0" u="none" baseline="0" dirty="0">
                <a:solidFill>
                  <a:prstClr val="black"/>
                </a:solidFill>
                <a:latin typeface="Arial"/>
                <a:cs typeface="Arial"/>
              </a:rPr>
              <a:t>недоступности указанных должностных лиц</a:t>
            </a:r>
            <a:endParaRPr lang="ru" sz="900" b="1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91027" y="3291596"/>
            <a:ext cx="8048173" cy="45719"/>
          </a:xfrm>
          <a:prstGeom prst="rect">
            <a:avLst/>
          </a:prstGeom>
          <a:solidFill>
            <a:srgbClr val="00589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" dirty="0" err="1" smtClean="0">
              <a:solidFill>
                <a:schemeClr val="tx1"/>
              </a:solidFill>
            </a:endParaRPr>
          </a:p>
        </p:txBody>
      </p:sp>
      <p:pic>
        <p:nvPicPr>
          <p:cNvPr id="19" name="Picture 18"/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1290564"/>
            <a:ext cx="9144000" cy="81036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 rtl="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ru" dirty="0" smtClean="0"/>
          </a:p>
        </p:txBody>
      </p:sp>
      <p:sp>
        <p:nvSpPr>
          <p:cNvPr id="21" name="Title 1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56182" y="106680"/>
            <a:ext cx="848781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just" defTabSz="685800" rtl="0"/>
            <a:r>
              <a:rPr lang="ru-RU" sz="1400" b="1" i="0" u="none" baseline="0" dirty="0">
                <a:solidFill>
                  <a:schemeClr val="bg1"/>
                </a:solidFill>
                <a:latin typeface="Arial Narrow"/>
                <a:cs typeface="Arial Narrow"/>
              </a:rPr>
              <a:t>Обзор политики в сфере отклонений и выплат</a:t>
            </a:r>
          </a:p>
        </p:txBody>
      </p:sp>
    </p:spTree>
    <p:extLst>
      <p:ext uri="{BB962C8B-B14F-4D97-AF65-F5344CB8AC3E}">
        <p14:creationId xmlns:p14="http://schemas.microsoft.com/office/powerpoint/2010/main" val="1243340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55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1"/>
          <p:cNvSpPr txBox="1">
            <a:spLocks/>
          </p:cNvSpPr>
          <p:nvPr/>
        </p:nvSpPr>
        <p:spPr bwMode="gray">
          <a:xfrm>
            <a:off x="609600" y="654535"/>
            <a:ext cx="777240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defTabSz="685800" rtl="0"/>
            <a:r>
              <a:rPr lang="ru-RU" sz="1300" b="0" i="1" u="none" baseline="0">
                <a:solidFill>
                  <a:schemeClr val="tx1">
                    <a:lumMod val="75000"/>
                    <a:lumOff val="25000"/>
                  </a:schemeClr>
                </a:solidFill>
              </a:rPr>
              <a:t>Четкие процессы планирования и оценки абсолютно точно дают стране возможность избежать отклонений и, соответственно, дополнительных затрат.</a:t>
            </a:r>
          </a:p>
        </p:txBody>
      </p:sp>
      <p:sp>
        <p:nvSpPr>
          <p:cNvPr id="23" name="Title 1"/>
          <p:cNvSpPr txBox="1">
            <a:spLocks/>
          </p:cNvSpPr>
          <p:nvPr/>
        </p:nvSpPr>
        <p:spPr bwMode="gray">
          <a:xfrm>
            <a:off x="609600" y="1249450"/>
            <a:ext cx="831281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just" defTabSz="685800" rtl="0"/>
            <a:r>
              <a:rPr lang="ru-RU" b="1" i="0" u="none" baseline="0">
                <a:solidFill>
                  <a:srgbClr val="1F1F1F"/>
                </a:solidFill>
              </a:rPr>
              <a:t>Определение отклонения</a:t>
            </a:r>
            <a:endParaRPr lang="ru" b="1" dirty="0">
              <a:solidFill>
                <a:srgbClr val="1F1F1F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33399" y="1549785"/>
            <a:ext cx="828162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685800" rtl="0"/>
            <a:r>
              <a:rPr lang="ru-RU" sz="1000" b="1" i="0" u="none" baseline="0" dirty="0">
                <a:solidFill>
                  <a:srgbClr val="1F1F1F"/>
                </a:solidFill>
              </a:rPr>
              <a:t>Расходов Правительства, связанных с отклонениями, можно избежать путем предоставления </a:t>
            </a:r>
            <a:r>
              <a:rPr lang="ru-RU" sz="1000" b="1" i="0" u="sng" baseline="0" dirty="0">
                <a:solidFill>
                  <a:srgbClr val="1F1F1F"/>
                </a:solidFill>
              </a:rPr>
              <a:t>точной</a:t>
            </a:r>
            <a:r>
              <a:rPr lang="ru-RU" sz="1000" b="1" i="0" u="none" baseline="0" dirty="0">
                <a:solidFill>
                  <a:srgbClr val="1F1F1F"/>
                </a:solidFill>
              </a:rPr>
              <a:t> и </a:t>
            </a:r>
            <a:r>
              <a:rPr lang="ru-RU" sz="1000" b="1" i="0" u="sng" baseline="0" dirty="0">
                <a:solidFill>
                  <a:srgbClr val="1F1F1F"/>
                </a:solidFill>
              </a:rPr>
              <a:t>полной</a:t>
            </a:r>
            <a:r>
              <a:rPr lang="ru-RU" sz="1000" b="1" i="0" u="none" baseline="0" dirty="0">
                <a:solidFill>
                  <a:srgbClr val="1F1F1F"/>
                </a:solidFill>
              </a:rPr>
              <a:t> информации</a:t>
            </a:r>
            <a:r>
              <a:rPr lang="ru-RU" sz="1000" b="0" i="0" u="none" baseline="0" dirty="0">
                <a:solidFill>
                  <a:srgbClr val="1F1F1F"/>
                </a:solidFill>
              </a:rPr>
              <a:t> о расположении места установки, его готовности и доступности, а также обеспечения необходимого персонала для прохождения обучения и согласования при установке</a:t>
            </a:r>
            <a:endParaRPr lang="ru" sz="1000" i="1" dirty="0">
              <a:solidFill>
                <a:srgbClr val="1F1F1F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367549" y="2087650"/>
            <a:ext cx="2461261" cy="998423"/>
          </a:xfrm>
          <a:prstGeom prst="rect">
            <a:avLst/>
          </a:prstGeom>
          <a:solidFill>
            <a:srgbClr val="00589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r>
              <a:rPr lang="ru-RU" sz="1100" b="1" i="1" u="none" baseline="0" dirty="0">
                <a:solidFill>
                  <a:schemeClr val="tx1"/>
                </a:solidFill>
              </a:rPr>
              <a:t>Стадия 3 (за 1–2 недели до установки):</a:t>
            </a:r>
          </a:p>
          <a:p>
            <a:pPr lvl="0" algn="ctr" rtl="0"/>
            <a:r>
              <a:rPr lang="ru-RU" sz="1100" b="0" i="0" u="none" baseline="0" dirty="0">
                <a:solidFill>
                  <a:schemeClr val="tx1"/>
                </a:solidFill>
              </a:rPr>
              <a:t>Связаться с ответственным лицом на каждом объекте и подтвердить</a:t>
            </a:r>
            <a:r>
              <a:rPr lang="ru-RU" sz="1100" dirty="0">
                <a:solidFill>
                  <a:schemeClr val="tx1"/>
                </a:solidFill>
              </a:rPr>
              <a:t/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b="0" i="0" u="none" baseline="0" dirty="0">
                <a:solidFill>
                  <a:schemeClr val="tx1"/>
                </a:solidFill>
              </a:rPr>
              <a:t> их доступность</a:t>
            </a:r>
            <a:endParaRPr lang="ru" sz="1100" dirty="0">
              <a:solidFill>
                <a:schemeClr val="tx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376629" y="3154450"/>
            <a:ext cx="2438400" cy="3246350"/>
          </a:xfrm>
          <a:prstGeom prst="rect">
            <a:avLst/>
          </a:prstGeom>
          <a:solidFill>
            <a:srgbClr val="00589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0" indent="-171450" algn="l" rtl="0">
              <a:buFont typeface="Courier New"/>
              <a:buChar char="o"/>
            </a:pPr>
            <a:r>
              <a:rPr lang="ru-RU" sz="1100" b="1" i="0" u="none" baseline="0" dirty="0">
                <a:solidFill>
                  <a:srgbClr val="1F1F1F"/>
                </a:solidFill>
              </a:rPr>
              <a:t>Связаться</a:t>
            </a:r>
            <a:r>
              <a:rPr lang="ru-RU" sz="1100" b="0" i="0" u="none" baseline="0" dirty="0">
                <a:solidFill>
                  <a:srgbClr val="1F1F1F"/>
                </a:solidFill>
              </a:rPr>
              <a:t> со всеми ответственными лицами для </a:t>
            </a:r>
            <a:r>
              <a:rPr lang="ru-RU" sz="1100" b="1" i="0" u="none" baseline="0" dirty="0">
                <a:solidFill>
                  <a:srgbClr val="1F1F1F"/>
                </a:solidFill>
              </a:rPr>
              <a:t>подтверждения их доступности</a:t>
            </a:r>
            <a:r>
              <a:rPr lang="ru-RU" sz="1100" b="0" i="0" u="none" baseline="0" dirty="0">
                <a:solidFill>
                  <a:srgbClr val="1F1F1F"/>
                </a:solidFill>
              </a:rPr>
              <a:t> и </a:t>
            </a:r>
            <a:r>
              <a:rPr lang="ru-RU" sz="1100" b="1" i="0" u="none" baseline="0" dirty="0">
                <a:solidFill>
                  <a:srgbClr val="1F1F1F"/>
                </a:solidFill>
              </a:rPr>
              <a:t>повторения информации о процедурах</a:t>
            </a:r>
            <a:r>
              <a:rPr lang="ru-RU" sz="1100" b="0" i="0" u="none" baseline="0" dirty="0">
                <a:solidFill>
                  <a:srgbClr val="1F1F1F"/>
                </a:solidFill>
              </a:rPr>
              <a:t>:</a:t>
            </a:r>
          </a:p>
          <a:p>
            <a:pPr marL="171450" lvl="0" indent="-171450" algn="l" rtl="0">
              <a:buFont typeface="Courier New"/>
              <a:buChar char="o"/>
            </a:pPr>
            <a:endParaRPr lang="ru" sz="1100" dirty="0" smtClean="0">
              <a:solidFill>
                <a:srgbClr val="1F1F1F"/>
              </a:solidFill>
            </a:endParaRPr>
          </a:p>
          <a:p>
            <a:pPr marL="628554" lvl="1" indent="-171450" algn="l" rtl="0">
              <a:buFont typeface="Arial"/>
              <a:buChar char="•"/>
            </a:pPr>
            <a:r>
              <a:rPr lang="ru-RU" sz="1100" b="0" i="1" u="none" baseline="0" dirty="0">
                <a:solidFill>
                  <a:srgbClr val="1F1F1F"/>
                </a:solidFill>
              </a:rPr>
              <a:t>приемки оборудования</a:t>
            </a:r>
          </a:p>
          <a:p>
            <a:pPr marL="628554" lvl="1" indent="-171450" algn="l" rtl="0">
              <a:buFont typeface="Arial"/>
              <a:buChar char="•"/>
            </a:pPr>
            <a:r>
              <a:rPr lang="ru-RU" sz="1100" b="0" i="1" u="none" baseline="0" dirty="0">
                <a:solidFill>
                  <a:srgbClr val="1F1F1F"/>
                </a:solidFill>
              </a:rPr>
              <a:t>Установки</a:t>
            </a:r>
          </a:p>
          <a:p>
            <a:pPr marL="628554" lvl="1" indent="-171450" algn="l" rtl="0">
              <a:buFont typeface="Arial"/>
              <a:buChar char="•"/>
            </a:pPr>
            <a:r>
              <a:rPr lang="ru-RU" sz="1100" b="0" i="1" u="none" baseline="0" dirty="0">
                <a:solidFill>
                  <a:srgbClr val="1F1F1F"/>
                </a:solidFill>
              </a:rPr>
              <a:t>обучения на объекте (при наличии)</a:t>
            </a:r>
          </a:p>
          <a:p>
            <a:pPr marL="628554" lvl="1" indent="-171450" algn="l" rtl="0">
              <a:buFont typeface="Arial"/>
              <a:buChar char="•"/>
            </a:pPr>
            <a:r>
              <a:rPr lang="ru-RU" sz="1100" b="0" i="1" u="none" baseline="0" dirty="0">
                <a:solidFill>
                  <a:srgbClr val="1F1F1F"/>
                </a:solidFill>
              </a:rPr>
              <a:t>действий после установки</a:t>
            </a:r>
          </a:p>
          <a:p>
            <a:pPr lvl="1" algn="l" rtl="0"/>
            <a:endParaRPr lang="ru" sz="1100" dirty="0">
              <a:solidFill>
                <a:srgbClr val="1F1F1F"/>
              </a:solidFill>
            </a:endParaRPr>
          </a:p>
          <a:p>
            <a:pPr marL="171450" lvl="0" indent="-171450" algn="l" rtl="0">
              <a:buFont typeface="Courier New"/>
              <a:buChar char="o"/>
            </a:pPr>
            <a:r>
              <a:rPr lang="ru-RU" sz="1100" b="0" i="0" u="none" baseline="0" dirty="0">
                <a:solidFill>
                  <a:srgbClr val="1F1F1F"/>
                </a:solidFill>
              </a:rPr>
              <a:t> Подчеркнуть </a:t>
            </a:r>
            <a:r>
              <a:rPr lang="ru-RU" sz="1100" b="1" i="0" u="none" baseline="0" dirty="0">
                <a:solidFill>
                  <a:srgbClr val="1F1F1F"/>
                </a:solidFill>
              </a:rPr>
              <a:t>стоимость отклонения</a:t>
            </a:r>
            <a:r>
              <a:rPr lang="ru-RU" sz="1100" b="0" i="0" u="none" baseline="0" dirty="0">
                <a:solidFill>
                  <a:srgbClr val="1F1F1F"/>
                </a:solidFill>
              </a:rPr>
              <a:t> </a:t>
            </a:r>
          </a:p>
        </p:txBody>
      </p:sp>
      <p:sp>
        <p:nvSpPr>
          <p:cNvPr id="27" name="Rectangle 26"/>
          <p:cNvSpPr/>
          <p:nvPr/>
        </p:nvSpPr>
        <p:spPr>
          <a:xfrm>
            <a:off x="3861616" y="2087650"/>
            <a:ext cx="2442882" cy="998423"/>
          </a:xfrm>
          <a:prstGeom prst="rect">
            <a:avLst/>
          </a:prstGeom>
          <a:solidFill>
            <a:srgbClr val="00589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r>
              <a:rPr lang="ru-RU" sz="1100" b="1" i="1" u="none" baseline="0" dirty="0">
                <a:solidFill>
                  <a:srgbClr val="1F1F1F"/>
                </a:solidFill>
              </a:rPr>
              <a:t>Стадия 2 (за 1–2 месяца до установки):</a:t>
            </a:r>
            <a:r>
              <a:rPr lang="ru-RU" sz="1100" b="0" i="1" u="none" baseline="0" dirty="0">
                <a:solidFill>
                  <a:srgbClr val="1F1F1F"/>
                </a:solidFill>
              </a:rPr>
              <a:t> </a:t>
            </a:r>
          </a:p>
          <a:p>
            <a:pPr lvl="0" algn="ctr" rtl="0"/>
            <a:r>
              <a:rPr lang="ru-RU" sz="1100" b="0" i="1" u="none" baseline="0" dirty="0">
                <a:solidFill>
                  <a:srgbClr val="1F1F1F"/>
                </a:solidFill>
              </a:rPr>
              <a:t>Обновить</a:t>
            </a:r>
          </a:p>
          <a:p>
            <a:pPr lvl="0" algn="ctr" rtl="0"/>
            <a:r>
              <a:rPr lang="ru-RU" sz="1100" b="0" i="1" u="none" baseline="0" dirty="0">
                <a:solidFill>
                  <a:srgbClr val="1F1F1F"/>
                </a:solidFill>
              </a:rPr>
              <a:t>План оперативного развертывания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863110" y="3154450"/>
            <a:ext cx="2438400" cy="3246350"/>
          </a:xfrm>
          <a:prstGeom prst="rect">
            <a:avLst/>
          </a:prstGeom>
          <a:solidFill>
            <a:srgbClr val="00589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0" indent="-171450" algn="l" rtl="0">
              <a:buFont typeface="Courier New"/>
              <a:buChar char="o"/>
            </a:pPr>
            <a:r>
              <a:rPr lang="ru-RU" sz="900" b="0" i="0" u="none" baseline="0" dirty="0">
                <a:solidFill>
                  <a:srgbClr val="1F1F1F"/>
                </a:solidFill>
              </a:rPr>
              <a:t>Передать Отделу поставок (SD) ЮНИСЕФ и поставщику информацию о каких-либо </a:t>
            </a:r>
            <a:r>
              <a:rPr lang="ru-RU" sz="900" b="1" i="0" u="none" baseline="0" dirty="0">
                <a:solidFill>
                  <a:srgbClr val="1F1F1F"/>
                </a:solidFill>
              </a:rPr>
              <a:t>изменениях</a:t>
            </a:r>
            <a:r>
              <a:rPr lang="ru-RU" sz="900" b="0" i="0" u="none" baseline="0" dirty="0">
                <a:solidFill>
                  <a:srgbClr val="1F1F1F"/>
                </a:solidFill>
              </a:rPr>
              <a:t> в:</a:t>
            </a:r>
          </a:p>
          <a:p>
            <a:pPr lvl="0" algn="l" rtl="0"/>
            <a:endParaRPr lang="ru" sz="900" dirty="0">
              <a:solidFill>
                <a:srgbClr val="1F1F1F"/>
              </a:solidFill>
            </a:endParaRPr>
          </a:p>
          <a:p>
            <a:pPr marL="628554" lvl="1" indent="-171450" algn="l" rtl="0">
              <a:buFont typeface="Arial"/>
              <a:buChar char="•"/>
            </a:pPr>
            <a:r>
              <a:rPr lang="ru-RU" sz="900" b="0" i="1" u="none" baseline="0" dirty="0">
                <a:solidFill>
                  <a:srgbClr val="1F1F1F"/>
                </a:solidFill>
              </a:rPr>
              <a:t> </a:t>
            </a:r>
            <a:r>
              <a:rPr lang="ru-RU" sz="900" b="1" i="1" u="none" baseline="0" dirty="0">
                <a:solidFill>
                  <a:srgbClr val="1F1F1F"/>
                </a:solidFill>
              </a:rPr>
              <a:t>Готовности учреждения</a:t>
            </a:r>
            <a:r>
              <a:rPr lang="ru-RU" sz="900" b="0" i="1" u="none" baseline="0" dirty="0">
                <a:solidFill>
                  <a:srgbClr val="1F1F1F"/>
                </a:solidFill>
              </a:rPr>
              <a:t> благодаря завершенным и проверенным ремонтным работам</a:t>
            </a:r>
            <a:r>
              <a:rPr lang="ru-RU" sz="900" i="1" dirty="0">
                <a:solidFill>
                  <a:srgbClr val="1F1F1F"/>
                </a:solidFill>
              </a:rPr>
              <a:t/>
            </a:r>
            <a:br>
              <a:rPr lang="ru-RU" sz="900" i="1" dirty="0">
                <a:solidFill>
                  <a:srgbClr val="1F1F1F"/>
                </a:solidFill>
              </a:rPr>
            </a:br>
            <a:endParaRPr lang="ru" sz="900" i="1" dirty="0">
              <a:solidFill>
                <a:srgbClr val="1F1F1F"/>
              </a:solidFill>
            </a:endParaRPr>
          </a:p>
          <a:p>
            <a:pPr marL="628554" lvl="1" indent="-171450" algn="l" rtl="0">
              <a:buFont typeface="Arial"/>
              <a:buChar char="•"/>
            </a:pPr>
            <a:r>
              <a:rPr lang="ru-RU" sz="900" b="1" i="1" u="none" baseline="0" dirty="0">
                <a:solidFill>
                  <a:srgbClr val="1F1F1F"/>
                </a:solidFill>
              </a:rPr>
              <a:t>Статусе безопасности </a:t>
            </a:r>
            <a:r>
              <a:rPr lang="ru-RU" sz="900" b="0" i="1" u="none" baseline="0" dirty="0">
                <a:solidFill>
                  <a:srgbClr val="1F1F1F"/>
                </a:solidFill>
              </a:rPr>
              <a:t>региона.</a:t>
            </a:r>
            <a:r>
              <a:rPr lang="ru-RU" sz="900" i="1" dirty="0">
                <a:solidFill>
                  <a:srgbClr val="1F1F1F"/>
                </a:solidFill>
              </a:rPr>
              <a:t/>
            </a:r>
            <a:br>
              <a:rPr lang="ru-RU" sz="900" i="1" dirty="0">
                <a:solidFill>
                  <a:srgbClr val="1F1F1F"/>
                </a:solidFill>
              </a:rPr>
            </a:br>
            <a:endParaRPr lang="ru" sz="900" i="1" dirty="0">
              <a:solidFill>
                <a:srgbClr val="1F1F1F"/>
              </a:solidFill>
            </a:endParaRPr>
          </a:p>
          <a:p>
            <a:pPr marL="628554" lvl="1" indent="-171450" algn="l" rtl="0">
              <a:buFont typeface="Arial"/>
              <a:buChar char="•"/>
            </a:pPr>
            <a:r>
              <a:rPr lang="ru-RU" sz="900" b="1" i="1" u="none" baseline="0" dirty="0">
                <a:solidFill>
                  <a:srgbClr val="1F1F1F"/>
                </a:solidFill>
              </a:rPr>
              <a:t>Списке целевых объектов</a:t>
            </a:r>
            <a:r>
              <a:rPr lang="ru-RU" sz="900" b="0" i="1" u="none" baseline="0" dirty="0">
                <a:solidFill>
                  <a:srgbClr val="1F1F1F"/>
                </a:solidFill>
              </a:rPr>
              <a:t> в связи с недавно установленным в предыдущих учреждениях оборудованием</a:t>
            </a:r>
            <a:r>
              <a:rPr lang="ru-RU" sz="900" i="1" dirty="0">
                <a:solidFill>
                  <a:srgbClr val="1F1F1F"/>
                </a:solidFill>
              </a:rPr>
              <a:t/>
            </a:r>
            <a:br>
              <a:rPr lang="ru-RU" sz="900" i="1" dirty="0">
                <a:solidFill>
                  <a:srgbClr val="1F1F1F"/>
                </a:solidFill>
              </a:rPr>
            </a:br>
            <a:endParaRPr lang="ru" sz="900" i="1" dirty="0">
              <a:solidFill>
                <a:srgbClr val="1F1F1F"/>
              </a:solidFill>
            </a:endParaRPr>
          </a:p>
          <a:p>
            <a:pPr marL="628554" lvl="1" indent="-171450" algn="l" rtl="0">
              <a:buFont typeface="Arial"/>
              <a:buChar char="•"/>
            </a:pPr>
            <a:r>
              <a:rPr lang="ru-RU" sz="900" b="1" i="1" u="none" baseline="0" dirty="0">
                <a:solidFill>
                  <a:srgbClr val="1F1F1F"/>
                </a:solidFill>
              </a:rPr>
              <a:t>контактной информации</a:t>
            </a:r>
            <a:r>
              <a:rPr lang="ru-RU" sz="900" b="0" i="1" u="none" baseline="0" dirty="0">
                <a:solidFill>
                  <a:srgbClr val="1F1F1F"/>
                </a:solidFill>
              </a:rPr>
              <a:t> ответственного должностного лица</a:t>
            </a:r>
            <a:endParaRPr lang="ru" sz="900" i="1" dirty="0">
              <a:solidFill>
                <a:srgbClr val="1F1F1F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54957" y="2087650"/>
            <a:ext cx="3439423" cy="998423"/>
          </a:xfrm>
          <a:prstGeom prst="rect">
            <a:avLst/>
          </a:prstGeom>
          <a:solidFill>
            <a:srgbClr val="00589F">
              <a:alpha val="20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r>
              <a:rPr lang="ru-RU" sz="1100" b="1" i="1" u="none" baseline="0" dirty="0">
                <a:solidFill>
                  <a:srgbClr val="1F1F1F"/>
                </a:solidFill>
              </a:rPr>
              <a:t>Стадия 1 (Начинается после рекомендации НКРЗ):</a:t>
            </a:r>
          </a:p>
          <a:p>
            <a:pPr lvl="0" algn="ctr" rtl="0"/>
            <a:r>
              <a:rPr lang="ru-RU" sz="1100" b="0" i="0" u="none" baseline="0" dirty="0">
                <a:solidFill>
                  <a:srgbClr val="1F1F1F"/>
                </a:solidFill>
              </a:rPr>
              <a:t>Для всех объектов составляется точный план оперативного развертывания (ODP).</a:t>
            </a:r>
            <a:endParaRPr lang="ru" sz="1100" dirty="0">
              <a:solidFill>
                <a:srgbClr val="1F1F1F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357910" y="3154450"/>
            <a:ext cx="3429000" cy="3246350"/>
          </a:xfrm>
          <a:prstGeom prst="rect">
            <a:avLst/>
          </a:prstGeom>
          <a:solidFill>
            <a:srgbClr val="00589F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0" indent="-171450" algn="l" rtl="0">
              <a:buFont typeface="Courier New"/>
              <a:buChar char="o"/>
            </a:pPr>
            <a:r>
              <a:rPr lang="ru-RU" sz="900" b="1" i="1" u="sng" baseline="0" dirty="0">
                <a:solidFill>
                  <a:srgbClr val="1F1F1F"/>
                </a:solidFill>
              </a:rPr>
              <a:t>Выполнить оценку медицинских учреждений</a:t>
            </a:r>
          </a:p>
          <a:p>
            <a:pPr marL="171450" lvl="0" indent="-171450" algn="l" rtl="0">
              <a:buFont typeface="Courier New"/>
              <a:buChar char="o"/>
            </a:pPr>
            <a:r>
              <a:rPr lang="ru-RU" sz="900" b="1" i="0" u="none" baseline="0" dirty="0">
                <a:solidFill>
                  <a:srgbClr val="1F1F1F"/>
                </a:solidFill>
              </a:rPr>
              <a:t>Определить все объекты</a:t>
            </a:r>
            <a:r>
              <a:rPr lang="ru-RU" sz="900" b="0" i="0" u="none" baseline="0" dirty="0">
                <a:solidFill>
                  <a:srgbClr val="1F1F1F"/>
                </a:solidFill>
              </a:rPr>
              <a:t> для получения оборудования в заданных временных рамках</a:t>
            </a:r>
          </a:p>
          <a:p>
            <a:pPr marL="171450" lvl="0" indent="-171450" algn="l" rtl="0">
              <a:buFont typeface="Courier New"/>
              <a:buChar char="o"/>
            </a:pPr>
            <a:r>
              <a:rPr lang="ru-RU" sz="900" b="1" i="0" u="none" baseline="0" dirty="0">
                <a:solidFill>
                  <a:srgbClr val="1F1F1F"/>
                </a:solidFill>
              </a:rPr>
              <a:t>Собрать</a:t>
            </a:r>
            <a:r>
              <a:rPr lang="ru-RU" sz="900" b="0" i="0" u="none" baseline="0" dirty="0">
                <a:solidFill>
                  <a:srgbClr val="1F1F1F"/>
                </a:solidFill>
              </a:rPr>
              <a:t> по всем объектам и предоставить </a:t>
            </a:r>
            <a:r>
              <a:rPr lang="ru-RU" sz="900" b="1" i="0" u="none" baseline="0" dirty="0">
                <a:solidFill>
                  <a:srgbClr val="1F1F1F"/>
                </a:solidFill>
              </a:rPr>
              <a:t>точную информацию</a:t>
            </a:r>
            <a:r>
              <a:rPr lang="ru-RU" sz="900" b="0" i="0" u="none" baseline="0" dirty="0">
                <a:solidFill>
                  <a:srgbClr val="1F1F1F"/>
                </a:solidFill>
              </a:rPr>
              <a:t> о:</a:t>
            </a:r>
            <a:r>
              <a:rPr lang="ru-RU" sz="900" dirty="0">
                <a:solidFill>
                  <a:srgbClr val="1F1F1F"/>
                </a:solidFill>
              </a:rPr>
              <a:t/>
            </a:r>
            <a:br>
              <a:rPr lang="ru-RU" sz="900" dirty="0">
                <a:solidFill>
                  <a:srgbClr val="1F1F1F"/>
                </a:solidFill>
              </a:rPr>
            </a:br>
            <a:endParaRPr lang="ru" sz="900" dirty="0">
              <a:solidFill>
                <a:srgbClr val="1F1F1F"/>
              </a:solidFill>
            </a:endParaRPr>
          </a:p>
          <a:p>
            <a:pPr marL="628554" lvl="1" indent="-171450" algn="l" rtl="0">
              <a:buFont typeface="Arial"/>
              <a:buChar char="•"/>
            </a:pPr>
            <a:r>
              <a:rPr lang="ru-RU" sz="900" b="0" i="1" u="none" baseline="0" dirty="0">
                <a:solidFill>
                  <a:srgbClr val="1F1F1F"/>
                </a:solidFill>
              </a:rPr>
              <a:t>Расположении объекта</a:t>
            </a:r>
            <a:r>
              <a:rPr lang="ru-RU" sz="900" b="0" i="0" u="none" baseline="0" dirty="0">
                <a:solidFill>
                  <a:srgbClr val="1F1F1F"/>
                </a:solidFill>
              </a:rPr>
              <a:t> (например, адресе, удаленности и т. д.)</a:t>
            </a:r>
          </a:p>
          <a:p>
            <a:pPr marL="628554" lvl="1" indent="-171450" algn="l" rtl="0">
              <a:buFont typeface="Arial"/>
              <a:buChar char="•"/>
            </a:pPr>
            <a:r>
              <a:rPr lang="ru-RU" sz="900" b="0" i="1" u="none" baseline="0" dirty="0">
                <a:solidFill>
                  <a:srgbClr val="1F1F1F"/>
                </a:solidFill>
              </a:rPr>
              <a:t>Готовности объекта</a:t>
            </a:r>
            <a:r>
              <a:rPr lang="ru-RU" sz="900" b="0" i="0" u="none" baseline="0" dirty="0">
                <a:solidFill>
                  <a:srgbClr val="1F1F1F"/>
                </a:solidFill>
              </a:rPr>
              <a:t> (крыше, ровности пола, безопасности)</a:t>
            </a:r>
          </a:p>
          <a:p>
            <a:pPr marL="628554" lvl="1" indent="-171450" algn="l" rtl="0">
              <a:buFont typeface="Arial"/>
              <a:buChar char="•"/>
            </a:pPr>
            <a:r>
              <a:rPr lang="ru-RU" sz="900" b="0" i="1" u="none" baseline="0" dirty="0">
                <a:solidFill>
                  <a:srgbClr val="1F1F1F"/>
                </a:solidFill>
              </a:rPr>
              <a:t>Доступности объекта</a:t>
            </a:r>
            <a:r>
              <a:rPr lang="ru-RU" sz="900" b="0" i="0" u="none" baseline="0" dirty="0">
                <a:solidFill>
                  <a:srgbClr val="1F1F1F"/>
                </a:solidFill>
              </a:rPr>
              <a:t> (например, удаленности, качестве дороги, особых требованиях к доступности и т. д.)</a:t>
            </a:r>
          </a:p>
          <a:p>
            <a:pPr marL="628554" lvl="1" indent="-171450" algn="l" rtl="0">
              <a:buFont typeface="Arial"/>
              <a:buChar char="•"/>
            </a:pPr>
            <a:r>
              <a:rPr lang="ru-RU" sz="900" b="1" i="1" u="sng" baseline="0" dirty="0">
                <a:solidFill>
                  <a:srgbClr val="1F1F1F"/>
                </a:solidFill>
              </a:rPr>
              <a:t>Финализировать план оперативного развертывания (ODP)</a:t>
            </a:r>
            <a:r>
              <a:rPr lang="ru-RU" sz="900" b="1" i="1" u="sng" dirty="0">
                <a:solidFill>
                  <a:srgbClr val="1F1F1F"/>
                </a:solidFill>
              </a:rPr>
              <a:t/>
            </a:r>
            <a:br>
              <a:rPr lang="ru-RU" sz="900" b="1" i="1" u="sng" dirty="0">
                <a:solidFill>
                  <a:srgbClr val="1F1F1F"/>
                </a:solidFill>
              </a:rPr>
            </a:br>
            <a:endParaRPr lang="ru" sz="900" b="1" i="1" u="sng" dirty="0">
              <a:solidFill>
                <a:srgbClr val="1F1F1F"/>
              </a:solidFill>
            </a:endParaRPr>
          </a:p>
          <a:p>
            <a:pPr marL="171450" lvl="0" indent="-171450" algn="l" rtl="0">
              <a:buFont typeface="Courier New"/>
              <a:buChar char="o"/>
            </a:pPr>
            <a:r>
              <a:rPr lang="ru-RU" sz="900" b="0" i="0" u="none" baseline="0" dirty="0">
                <a:solidFill>
                  <a:srgbClr val="1F1F1F"/>
                </a:solidFill>
              </a:rPr>
              <a:t>Разработать </a:t>
            </a:r>
            <a:r>
              <a:rPr lang="ru-RU" sz="900" b="1" i="0" u="none" baseline="0" dirty="0">
                <a:solidFill>
                  <a:srgbClr val="1F1F1F"/>
                </a:solidFill>
              </a:rPr>
              <a:t>план ремонтных работ по объектам</a:t>
            </a:r>
            <a:r>
              <a:rPr lang="ru-RU" sz="900" b="0" i="0" u="none" baseline="0" dirty="0">
                <a:solidFill>
                  <a:srgbClr val="1F1F1F"/>
                </a:solidFill>
              </a:rPr>
              <a:t>, которые не готовы принять ОХЦ/предоставить информацию об альтернативных объектах</a:t>
            </a:r>
          </a:p>
          <a:p>
            <a:pPr marL="171450" lvl="0" indent="-171450" algn="l" rtl="0">
              <a:buFont typeface="Courier New"/>
              <a:buChar char="o"/>
            </a:pPr>
            <a:r>
              <a:rPr lang="ru-RU" sz="900" b="0" i="0" u="none" baseline="0" dirty="0">
                <a:solidFill>
                  <a:srgbClr val="1F1F1F"/>
                </a:solidFill>
              </a:rPr>
              <a:t>Заполнить протокол отклонений</a:t>
            </a:r>
          </a:p>
          <a:p>
            <a:pPr marL="171450" lvl="0" indent="-171450" algn="l" rtl="0">
              <a:buFont typeface="Courier New"/>
              <a:buChar char="o"/>
            </a:pPr>
            <a:r>
              <a:rPr lang="ru-RU" sz="900" b="0" i="0" u="none" baseline="0" dirty="0">
                <a:solidFill>
                  <a:srgbClr val="1F1F1F"/>
                </a:solidFill>
              </a:rPr>
              <a:t>Посетить случайную выборку объектов для </a:t>
            </a:r>
            <a:r>
              <a:rPr lang="ru-RU" sz="900" b="1" i="0" u="none" baseline="0" dirty="0">
                <a:solidFill>
                  <a:srgbClr val="1F1F1F"/>
                </a:solidFill>
              </a:rPr>
              <a:t>подтверждения</a:t>
            </a:r>
            <a:r>
              <a:rPr lang="ru-RU" sz="900" b="0" i="0" u="none" baseline="0" dirty="0">
                <a:solidFill>
                  <a:srgbClr val="1F1F1F"/>
                </a:solidFill>
              </a:rPr>
              <a:t> плана оперативного развертывания (ODP)</a:t>
            </a:r>
            <a:endParaRPr lang="ru" sz="900" dirty="0">
              <a:solidFill>
                <a:srgbClr val="1F1F1F"/>
              </a:solidFill>
            </a:endParaRPr>
          </a:p>
        </p:txBody>
      </p:sp>
      <p:pic>
        <p:nvPicPr>
          <p:cNvPr id="31" name="Picture 30"/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1177635"/>
            <a:ext cx="9144000" cy="81036"/>
          </a:xfrm>
          <a:prstGeom prst="rect">
            <a:avLst/>
          </a:prstGeom>
        </p:spPr>
      </p:pic>
      <p:sp>
        <p:nvSpPr>
          <p:cNvPr id="32" name="Rectangle 31"/>
          <p:cNvSpPr/>
          <p:nvPr/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 rtl="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ru" dirty="0" smtClean="0"/>
          </a:p>
        </p:txBody>
      </p:sp>
      <p:sp>
        <p:nvSpPr>
          <p:cNvPr id="33" name="Title 1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56182" y="106680"/>
            <a:ext cx="848781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defTabSz="685800" rtl="0"/>
            <a:r>
              <a:rPr lang="ru-RU" sz="1400" b="1" i="0" u="none" baseline="0" dirty="0">
                <a:solidFill>
                  <a:schemeClr val="bg1"/>
                </a:solidFill>
                <a:latin typeface="Arial Narrow"/>
                <a:cs typeface="Arial Narrow"/>
              </a:rPr>
              <a:t>Профилактика отклонений</a:t>
            </a:r>
          </a:p>
        </p:txBody>
      </p:sp>
    </p:spTree>
    <p:extLst>
      <p:ext uri="{BB962C8B-B14F-4D97-AF65-F5344CB8AC3E}">
        <p14:creationId xmlns:p14="http://schemas.microsoft.com/office/powerpoint/2010/main" val="2856011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57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/>
          <p:cNvSpPr/>
          <p:nvPr/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 rtl="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ru" dirty="0" smtClean="0"/>
          </a:p>
        </p:txBody>
      </p:sp>
      <p:pic>
        <p:nvPicPr>
          <p:cNvPr id="15" name="Picture 14"/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990600"/>
            <a:ext cx="9144000" cy="81036"/>
          </a:xfrm>
          <a:prstGeom prst="rect">
            <a:avLst/>
          </a:prstGeom>
        </p:spPr>
      </p:pic>
      <p:sp>
        <p:nvSpPr>
          <p:cNvPr id="16" name="Title 1"/>
          <p:cNvSpPr txBox="1">
            <a:spLocks/>
          </p:cNvSpPr>
          <p:nvPr/>
        </p:nvSpPr>
        <p:spPr bwMode="gray">
          <a:xfrm>
            <a:off x="609600" y="1219200"/>
            <a:ext cx="831281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defTabSz="685800" rtl="0"/>
            <a:r>
              <a:rPr lang="ru-RU" b="1" i="0" u="none" baseline="0">
                <a:solidFill>
                  <a:srgbClr val="1F1F1F"/>
                </a:solidFill>
                <a:latin typeface="Arial"/>
                <a:cs typeface="Arial"/>
              </a:rPr>
              <a:t>Официальный процесс подачи</a:t>
            </a:r>
          </a:p>
        </p:txBody>
      </p:sp>
      <p:sp>
        <p:nvSpPr>
          <p:cNvPr id="17" name="Rectangle 16"/>
          <p:cNvSpPr/>
          <p:nvPr/>
        </p:nvSpPr>
        <p:spPr>
          <a:xfrm>
            <a:off x="533400" y="1519535"/>
            <a:ext cx="80568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rtl="0"/>
            <a:r>
              <a:rPr lang="ru-RU" sz="1200" b="0" i="0" u="none" baseline="0">
                <a:solidFill>
                  <a:srgbClr val="1F1F1F"/>
                </a:solidFill>
                <a:latin typeface="Arial"/>
                <a:cs typeface="Arial"/>
              </a:rPr>
              <a:t>Министерство здравоохранения при поддержке группы по управлению проектом (PMT) подает план оперативного развертывания в отдел поставок ЮНИСЕФ вместе с запросом на смету расходов по электронной почте (psid@unicef.org)</a:t>
            </a:r>
          </a:p>
        </p:txBody>
      </p:sp>
      <p:sp>
        <p:nvSpPr>
          <p:cNvPr id="18" name="Title 1"/>
          <p:cNvSpPr txBox="1">
            <a:spLocks/>
          </p:cNvSpPr>
          <p:nvPr/>
        </p:nvSpPr>
        <p:spPr bwMode="gray">
          <a:xfrm>
            <a:off x="609600" y="649690"/>
            <a:ext cx="777240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defTabSz="685800" rtl="0"/>
            <a:r>
              <a:rPr lang="ru-RU" sz="1300" b="0" i="0" u="none" baseline="0">
                <a:solidFill>
                  <a:srgbClr val="575757"/>
                </a:solidFill>
                <a:latin typeface="Arial"/>
                <a:cs typeface="Arial"/>
              </a:rPr>
              <a:t>Определение процесса подачи и последующих этапов </a:t>
            </a:r>
            <a:endParaRPr lang="ru" sz="1300" dirty="0">
              <a:solidFill>
                <a:srgbClr val="575757"/>
              </a:solidFill>
              <a:latin typeface="Arial"/>
              <a:cs typeface="Arial"/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 bwMode="gray">
          <a:xfrm>
            <a:off x="632690" y="2332180"/>
            <a:ext cx="831281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defTabSz="685800" rtl="0"/>
            <a:r>
              <a:rPr lang="ru-RU" b="1" i="0" u="none" baseline="0">
                <a:solidFill>
                  <a:srgbClr val="1F1F1F"/>
                </a:solidFill>
                <a:latin typeface="Arial"/>
                <a:cs typeface="Arial"/>
              </a:rPr>
              <a:t>Что происходит далее?</a:t>
            </a:r>
          </a:p>
        </p:txBody>
      </p:sp>
      <p:sp>
        <p:nvSpPr>
          <p:cNvPr id="20" name="Rectangle 19"/>
          <p:cNvSpPr/>
          <p:nvPr/>
        </p:nvSpPr>
        <p:spPr>
          <a:xfrm>
            <a:off x="556490" y="2661046"/>
            <a:ext cx="8056880" cy="28777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00050" lvl="1" indent="-400050" algn="l" rtl="0">
              <a:spcBef>
                <a:spcPts val="400"/>
              </a:spcBef>
              <a:spcAft>
                <a:spcPts val="200"/>
              </a:spcAft>
              <a:buFont typeface="+mj-lt"/>
              <a:buAutoNum type="romanUcPeriod"/>
            </a:pPr>
            <a:r>
              <a:rPr lang="ru-RU" sz="1300" b="0" i="0" u="none" baseline="0">
                <a:latin typeface="Arial"/>
                <a:cs typeface="Arial"/>
              </a:rPr>
              <a:t>После получения плана оперативного развертывания будет выполнена </a:t>
            </a:r>
            <a:r>
              <a:rPr lang="ru-RU" sz="1300" b="1" i="0" u="none" baseline="0">
                <a:latin typeface="Arial"/>
                <a:cs typeface="Arial"/>
              </a:rPr>
              <a:t>оценка плана поставщиком</a:t>
            </a:r>
            <a:r>
              <a:rPr lang="ru-RU" sz="1300" b="0" i="0" u="none" baseline="0">
                <a:latin typeface="Arial"/>
                <a:cs typeface="Arial"/>
              </a:rPr>
              <a:t>. Таким образом, поставщики используют данные плана, а также данные о сопутствующих расходах их вендоров внутри страны для составления бюджета, охватывающего весь пакет услуг.  </a:t>
            </a:r>
          </a:p>
          <a:p>
            <a:pPr marL="400050" lvl="1" indent="-400050" algn="l" rtl="0">
              <a:spcBef>
                <a:spcPts val="400"/>
              </a:spcBef>
              <a:spcAft>
                <a:spcPts val="200"/>
              </a:spcAft>
              <a:buFont typeface="+mj-lt"/>
              <a:buAutoNum type="romanUcPeriod"/>
            </a:pPr>
            <a:r>
              <a:rPr lang="ru-RU" sz="1300" b="0" i="0" u="none" baseline="0">
                <a:latin typeface="Arial"/>
                <a:cs typeface="Arial"/>
              </a:rPr>
              <a:t>После получения оцененного плана поставщика </a:t>
            </a:r>
            <a:r>
              <a:rPr lang="ru-RU" sz="1300" b="1" i="0" u="none" baseline="0">
                <a:latin typeface="Arial"/>
                <a:cs typeface="Arial"/>
              </a:rPr>
              <a:t>ЮНИСЕФ</a:t>
            </a:r>
            <a:r>
              <a:rPr lang="ru-RU" sz="1300" b="0" i="0" u="none" baseline="0">
                <a:latin typeface="Arial"/>
                <a:cs typeface="Arial"/>
              </a:rPr>
              <a:t> объявит тендеры на совокупность услуг и разработает оцененный оперативный план (COP).</a:t>
            </a:r>
          </a:p>
          <a:p>
            <a:pPr marL="400050" lvl="1" indent="-400050" algn="l" rtl="0">
              <a:spcBef>
                <a:spcPts val="400"/>
              </a:spcBef>
              <a:spcAft>
                <a:spcPts val="200"/>
              </a:spcAft>
              <a:buFont typeface="+mj-lt"/>
              <a:buAutoNum type="romanUcPeriod"/>
            </a:pPr>
            <a:r>
              <a:rPr lang="ru-RU" sz="1300" b="0" i="0" u="none" baseline="0">
                <a:latin typeface="Arial"/>
                <a:cs typeface="Arial"/>
              </a:rPr>
              <a:t>Эти тендеры (и сопутствующие требования к совместному инвестированию) будут предоставлены Гави и Министерству здравоохранения для согласования</a:t>
            </a:r>
          </a:p>
          <a:p>
            <a:pPr marL="400050" lvl="1" indent="-400050" algn="l" rtl="0">
              <a:spcBef>
                <a:spcPts val="400"/>
              </a:spcBef>
              <a:spcAft>
                <a:spcPts val="200"/>
              </a:spcAft>
              <a:buFont typeface="+mj-lt"/>
              <a:buAutoNum type="romanUcPeriod"/>
            </a:pPr>
            <a:r>
              <a:rPr lang="ru-RU" sz="1300" b="0" i="0" u="none" baseline="0">
                <a:latin typeface="Arial"/>
                <a:cs typeface="Arial"/>
              </a:rPr>
              <a:t>Отдел закупок составит смету расхода</a:t>
            </a:r>
          </a:p>
          <a:p>
            <a:pPr marL="400050" lvl="1" indent="-400050" algn="l" rtl="0">
              <a:spcBef>
                <a:spcPts val="400"/>
              </a:spcBef>
              <a:spcAft>
                <a:spcPts val="200"/>
              </a:spcAft>
              <a:buFont typeface="+mj-lt"/>
              <a:buAutoNum type="romanUcPeriod"/>
            </a:pPr>
            <a:r>
              <a:rPr lang="ru-RU" sz="1300" b="0" i="0" u="none" baseline="0">
                <a:latin typeface="Arial"/>
                <a:cs typeface="Arial"/>
              </a:rPr>
              <a:t>После согласования </a:t>
            </a:r>
            <a:r>
              <a:rPr lang="ru-RU" sz="1300" b="1" i="0" u="none" baseline="0">
                <a:latin typeface="Arial"/>
                <a:cs typeface="Arial"/>
              </a:rPr>
              <a:t>Министерство здравоохранения и Гави</a:t>
            </a:r>
            <a:r>
              <a:rPr lang="ru-RU" sz="1300" b="0" i="0" u="none" baseline="0">
                <a:latin typeface="Arial"/>
                <a:cs typeface="Arial"/>
              </a:rPr>
              <a:t> должны перечислить указанные средства ЮНИСЕФ, чтобы инициировать процесс закупки.</a:t>
            </a:r>
          </a:p>
          <a:p>
            <a:pPr marL="400050" lvl="1" indent="-400050" algn="l" rtl="0">
              <a:spcBef>
                <a:spcPts val="400"/>
              </a:spcBef>
              <a:spcAft>
                <a:spcPts val="200"/>
              </a:spcAft>
              <a:buFont typeface="+mj-lt"/>
              <a:buAutoNum type="romanUcPeriod"/>
            </a:pPr>
            <a:r>
              <a:rPr lang="ru-RU" sz="1300" b="0" i="0" u="none" baseline="0">
                <a:latin typeface="Arial"/>
                <a:cs typeface="Arial"/>
              </a:rPr>
              <a:t>После получения средств от Гави и Министерства здравоохранения </a:t>
            </a:r>
            <a:r>
              <a:rPr lang="ru-RU" sz="1300" b="1" i="0" u="none" baseline="0">
                <a:latin typeface="Arial"/>
                <a:cs typeface="Arial"/>
              </a:rPr>
              <a:t>ЮНИСЕФ</a:t>
            </a:r>
            <a:r>
              <a:rPr lang="ru-RU" sz="1300" b="0" i="0" u="none" baseline="0">
                <a:latin typeface="Arial"/>
                <a:cs typeface="Arial"/>
              </a:rPr>
              <a:t> начнет закупку и разместит соответствующие заказы.</a:t>
            </a:r>
          </a:p>
        </p:txBody>
      </p:sp>
      <p:cxnSp>
        <p:nvCxnSpPr>
          <p:cNvPr id="21" name="Straight Connector 20"/>
          <p:cNvCxnSpPr/>
          <p:nvPr/>
        </p:nvCxnSpPr>
        <p:spPr>
          <a:xfrm>
            <a:off x="533400" y="2133600"/>
            <a:ext cx="805688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/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 rtl="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ru" dirty="0" smtClean="0"/>
          </a:p>
        </p:txBody>
      </p:sp>
      <p:sp>
        <p:nvSpPr>
          <p:cNvPr id="35" name="Title 1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56182" y="106680"/>
            <a:ext cx="848781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defTabSz="685800" rtl="0"/>
            <a:r>
              <a:rPr lang="ru-RU" sz="1400" b="1" i="0" u="none" baseline="0" dirty="0">
                <a:solidFill>
                  <a:schemeClr val="bg1"/>
                </a:solidFill>
                <a:latin typeface="Arial Narrow"/>
                <a:cs typeface="Arial Narrow"/>
              </a:rPr>
              <a:t>Подача</a:t>
            </a:r>
          </a:p>
        </p:txBody>
      </p:sp>
    </p:spTree>
    <p:extLst>
      <p:ext uri="{BB962C8B-B14F-4D97-AF65-F5344CB8AC3E}">
        <p14:creationId xmlns:p14="http://schemas.microsoft.com/office/powerpoint/2010/main" val="4127156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59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6"/>
          <p:cNvSpPr txBox="1">
            <a:spLocks/>
          </p:cNvSpPr>
          <p:nvPr/>
        </p:nvSpPr>
        <p:spPr>
          <a:xfrm>
            <a:off x="411801" y="3323649"/>
            <a:ext cx="1897491" cy="914400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 rtl="0">
              <a:buClr>
                <a:srgbClr val="339966"/>
              </a:buClr>
            </a:pPr>
            <a:r>
              <a:rPr lang="ru-RU" sz="1400" b="1" i="0" u="none" baseline="0">
                <a:latin typeface="Arial"/>
                <a:ea typeface="ＭＳ Ｐゴシック"/>
                <a:cs typeface="Arial"/>
              </a:rPr>
              <a:t>Процесс закупки</a:t>
            </a:r>
          </a:p>
          <a:p>
            <a:pPr marL="95250" algn="ctr" rtl="0">
              <a:buClr>
                <a:srgbClr val="339966"/>
              </a:buClr>
            </a:pPr>
            <a:endParaRPr lang="ru" sz="1100" b="1" dirty="0" smtClean="0">
              <a:latin typeface="Arial"/>
              <a:ea typeface="ＭＳ Ｐゴシック"/>
              <a:cs typeface="Arial"/>
            </a:endParaRPr>
          </a:p>
        </p:txBody>
      </p:sp>
      <p:sp>
        <p:nvSpPr>
          <p:cNvPr id="14" name="McK 5. Source"/>
          <p:cNvSpPr>
            <a:spLocks noChangeArrowheads="1"/>
          </p:cNvSpPr>
          <p:nvPr/>
        </p:nvSpPr>
        <p:spPr bwMode="auto">
          <a:xfrm>
            <a:off x="2895600" y="5939879"/>
            <a:ext cx="6359084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l" defTabSz="913526" rtl="0">
              <a:tabLst>
                <a:tab pos="625214" algn="l"/>
              </a:tabLst>
            </a:pPr>
            <a:r>
              <a:rPr lang="ru-RU" sz="1000" b="1" i="0" u="none" kern="1200" baseline="0" dirty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1.</a:t>
            </a:r>
            <a:r>
              <a:rPr lang="ru-RU" sz="1000" b="1" i="0" u="none" baseline="0" dirty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 Согласно ключевым показателям эффективности (KPI) в заявке в рамках ПООХЦ</a:t>
            </a:r>
          </a:p>
          <a:p>
            <a:pPr algn="l" defTabSz="913526" rtl="0">
              <a:tabLst>
                <a:tab pos="625214" algn="l"/>
              </a:tabLst>
            </a:pPr>
            <a:r>
              <a:rPr lang="ru-RU" sz="1000" b="1" i="0" u="none" baseline="0" dirty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2. Процедура таможенного оформления зависит от Министерства здравоохранения как </a:t>
            </a:r>
            <a:r>
              <a:rPr lang="en-US" sz="1000" b="1" i="0" u="none" baseline="0" dirty="0" smtClean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  </a:t>
            </a:r>
          </a:p>
          <a:p>
            <a:pPr algn="l" defTabSz="913526" rtl="0">
              <a:tabLst>
                <a:tab pos="625214" algn="l"/>
              </a:tabLst>
            </a:pPr>
            <a:r>
              <a:rPr lang="en-US" sz="1000" b="1" dirty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 </a:t>
            </a:r>
            <a:r>
              <a:rPr lang="en-US" sz="1000" b="1" dirty="0" smtClean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   </a:t>
            </a:r>
            <a:r>
              <a:rPr lang="ru-RU" sz="1000" b="1" i="0" u="none" baseline="0" dirty="0" smtClean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грузополучателя</a:t>
            </a:r>
            <a:endParaRPr lang="ru" sz="1000" b="1" kern="1200" dirty="0" smtClean="0">
              <a:solidFill>
                <a:schemeClr val="bg1">
                  <a:lumMod val="50000"/>
                </a:schemeClr>
              </a:solidFill>
              <a:latin typeface="Arial"/>
              <a:ea typeface="ＭＳ Ｐゴシック"/>
              <a:cs typeface="Arial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228600" y="1495454"/>
            <a:ext cx="8534400" cy="4800601"/>
            <a:chOff x="93054" y="800556"/>
            <a:chExt cx="5326098" cy="4333182"/>
          </a:xfrm>
        </p:grpSpPr>
        <p:sp>
          <p:nvSpPr>
            <p:cNvPr id="23" name="Rectangle 11"/>
            <p:cNvSpPr txBox="1"/>
            <p:nvPr/>
          </p:nvSpPr>
          <p:spPr>
            <a:xfrm>
              <a:off x="1622335" y="3625432"/>
              <a:ext cx="2179966" cy="7246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 algn="l" rtl="0">
                <a:spcBef>
                  <a:spcPts val="0"/>
                </a:spcBef>
                <a:spcAft>
                  <a:spcPts val="500"/>
                </a:spcAft>
                <a:buClrTx/>
              </a:pPr>
              <a:r>
                <a:rPr lang="ru-RU" sz="1200" b="0" i="0" u="none" baseline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Транспортировка ОХЦ по стране и установка (для &gt; 1000 единиц) </a:t>
              </a:r>
              <a:r>
                <a:rPr lang="ru-RU" sz="1200" b="0" i="0" u="none" baseline="0">
                  <a:latin typeface="Arial"/>
                  <a:ea typeface="ＭＳ Ｐゴシック"/>
                  <a:cs typeface="Arial"/>
                </a:rPr>
                <a:t>(в зависимости от возможностей поставщиков)</a:t>
              </a:r>
            </a:p>
            <a:p>
              <a:pPr marL="1587" lvl="1" indent="0" algn="l" rtl="0">
                <a:spcBef>
                  <a:spcPts val="0"/>
                </a:spcBef>
                <a:spcAft>
                  <a:spcPts val="500"/>
                </a:spcAft>
                <a:buClrTx/>
                <a:buNone/>
              </a:pPr>
              <a:endParaRPr lang="ru" sz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endParaRPr>
            </a:p>
          </p:txBody>
        </p:sp>
        <p:sp>
          <p:nvSpPr>
            <p:cNvPr id="24" name="Rectangle 11"/>
            <p:cNvSpPr txBox="1">
              <a:spLocks/>
            </p:cNvSpPr>
            <p:nvPr/>
          </p:nvSpPr>
          <p:spPr>
            <a:xfrm>
              <a:off x="4426011" y="3660219"/>
              <a:ext cx="993141" cy="1666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 algn="l" rtl="0">
                <a:spcBef>
                  <a:spcPts val="0"/>
                </a:spcBef>
                <a:spcAft>
                  <a:spcPts val="500"/>
                </a:spcAft>
                <a:buClrTx/>
              </a:pPr>
              <a:r>
                <a:rPr lang="ru-RU" sz="1200" b="0" i="0" u="none" baseline="0" dirty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5 месяцев</a:t>
              </a:r>
            </a:p>
          </p:txBody>
        </p:sp>
        <p:sp>
          <p:nvSpPr>
            <p:cNvPr id="25" name="Rectangle 11"/>
            <p:cNvSpPr txBox="1"/>
            <p:nvPr/>
          </p:nvSpPr>
          <p:spPr>
            <a:xfrm>
              <a:off x="1498608" y="4980943"/>
              <a:ext cx="2851101" cy="1527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 algn="l" rtl="0">
                <a:spcBef>
                  <a:spcPts val="0"/>
                </a:spcBef>
                <a:spcAft>
                  <a:spcPts val="500"/>
                </a:spcAft>
                <a:buClrTx/>
              </a:pPr>
              <a:endParaRPr lang="ru" sz="1100" dirty="0" smtClean="0">
                <a:solidFill>
                  <a:srgbClr val="FF0000"/>
                </a:solidFill>
                <a:latin typeface="Arial"/>
                <a:ea typeface="ＭＳ Ｐゴシック"/>
                <a:cs typeface="Arial"/>
              </a:endParaRPr>
            </a:p>
          </p:txBody>
        </p:sp>
        <p:sp>
          <p:nvSpPr>
            <p:cNvPr id="27" name="Rectangle 11"/>
            <p:cNvSpPr txBox="1">
              <a:spLocks/>
            </p:cNvSpPr>
            <p:nvPr/>
          </p:nvSpPr>
          <p:spPr>
            <a:xfrm>
              <a:off x="4182736" y="4494925"/>
              <a:ext cx="470040" cy="1666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 algn="l" rtl="0">
                <a:spcBef>
                  <a:spcPts val="500"/>
                </a:spcBef>
                <a:spcAft>
                  <a:spcPts val="500"/>
                </a:spcAft>
                <a:buClrTx/>
                <a:buNone/>
              </a:pPr>
              <a:r>
                <a:rPr lang="ru-RU" sz="1200" b="1" i="0" u="none" baseline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Итого = </a:t>
              </a:r>
            </a:p>
          </p:txBody>
        </p:sp>
        <p:sp>
          <p:nvSpPr>
            <p:cNvPr id="28" name="Rectangle 11"/>
            <p:cNvSpPr txBox="1"/>
            <p:nvPr/>
          </p:nvSpPr>
          <p:spPr>
            <a:xfrm>
              <a:off x="1616961" y="1205781"/>
              <a:ext cx="2851101" cy="10649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 algn="l" rtl="0">
                <a:spcBef>
                  <a:spcPts val="0"/>
                </a:spcBef>
                <a:spcAft>
                  <a:spcPts val="500"/>
                </a:spcAft>
                <a:buClrTx/>
              </a:pPr>
              <a:r>
                <a:rPr lang="ru-RU" sz="1200" b="0" i="0" u="none" baseline="0" dirty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Подача плана оперативного развертывания в ЮНИСЕФ </a:t>
              </a:r>
              <a:r>
                <a:rPr lang="ru-RU" sz="1200" b="0" i="0" u="none" baseline="30000" dirty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1</a:t>
              </a:r>
              <a:endParaRPr lang="ru" sz="1200" baseline="300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endParaRPr>
            </a:p>
            <a:p>
              <a:pPr lvl="1" algn="l" rtl="0">
                <a:spcBef>
                  <a:spcPts val="0"/>
                </a:spcBef>
                <a:spcAft>
                  <a:spcPts val="500"/>
                </a:spcAft>
                <a:buClrTx/>
              </a:pPr>
              <a:r>
                <a:rPr lang="ru-RU" sz="1200" b="0" i="0" u="none" baseline="0" dirty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Составление ЮНИСЕФ оцененного оперативного плана (COP)</a:t>
              </a:r>
            </a:p>
            <a:p>
              <a:pPr lvl="1" algn="l" rtl="0">
                <a:spcBef>
                  <a:spcPts val="0"/>
                </a:spcBef>
                <a:spcAft>
                  <a:spcPts val="500"/>
                </a:spcAft>
                <a:buClrTx/>
              </a:pPr>
              <a:r>
                <a:rPr lang="ru-RU" sz="1200" b="0" i="0" u="none" baseline="0" dirty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Согласование COP Гави и Министерством здравоохранения</a:t>
              </a:r>
              <a:endParaRPr lang="ru" sz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endParaRPr>
            </a:p>
            <a:p>
              <a:pPr lvl="1" algn="l" rtl="0">
                <a:spcBef>
                  <a:spcPts val="0"/>
                </a:spcBef>
                <a:spcAft>
                  <a:spcPts val="500"/>
                </a:spcAft>
                <a:buClrTx/>
              </a:pPr>
              <a:r>
                <a:rPr lang="ru-RU" sz="1200" b="0" i="0" u="none" baseline="0" dirty="0">
                  <a:latin typeface="Arial"/>
                  <a:cs typeface="Arial"/>
                </a:rPr>
                <a:t>Предоставление ЮНИСЕФ сметы расходов</a:t>
              </a:r>
            </a:p>
            <a:p>
              <a:pPr lvl="1" algn="l" rtl="0">
                <a:spcBef>
                  <a:spcPts val="0"/>
                </a:spcBef>
                <a:spcAft>
                  <a:spcPts val="500"/>
                </a:spcAft>
                <a:buClrTx/>
              </a:pPr>
              <a:r>
                <a:rPr lang="ru-RU" sz="1200" b="0" i="0" u="none" baseline="0" dirty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Передача средств (от Министерства здравоохранения и Гави)</a:t>
              </a:r>
              <a:endParaRPr lang="ru" sz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endParaRPr>
            </a:p>
          </p:txBody>
        </p:sp>
        <p:sp>
          <p:nvSpPr>
            <p:cNvPr id="29" name="Rectangle 6"/>
            <p:cNvSpPr txBox="1">
              <a:spLocks/>
            </p:cNvSpPr>
            <p:nvPr/>
          </p:nvSpPr>
          <p:spPr>
            <a:xfrm>
              <a:off x="207386" y="959730"/>
              <a:ext cx="1188000" cy="825368"/>
            </a:xfrm>
            <a:prstGeom prst="rect">
              <a:avLst/>
            </a:prstGeom>
            <a:solidFill>
              <a:srgbClr val="C2DBEC"/>
            </a:solidFill>
            <a:ln w="9525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180000" rIns="72002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95250" algn="ctr" rtl="0">
                <a:buClr>
                  <a:srgbClr val="339966"/>
                </a:buClr>
              </a:pPr>
              <a:r>
                <a:rPr lang="ru-RU" sz="1400" b="1" i="0" u="none" baseline="0">
                  <a:latin typeface="Arial"/>
                  <a:ea typeface="ＭＳ Ｐゴシック"/>
                  <a:cs typeface="Arial"/>
                </a:rPr>
                <a:t>Предоставление сметы расходов</a:t>
              </a:r>
            </a:p>
            <a:p>
              <a:pPr marL="95250" algn="l" rtl="0">
                <a:buClr>
                  <a:srgbClr val="339966"/>
                </a:buClr>
              </a:pPr>
              <a:endParaRPr lang="ru" sz="1100" b="1" dirty="0" smtClean="0">
                <a:latin typeface="Arial"/>
                <a:ea typeface="ＭＳ Ｐゴシック"/>
                <a:cs typeface="Arial"/>
              </a:endParaRPr>
            </a:p>
          </p:txBody>
        </p:sp>
        <p:sp>
          <p:nvSpPr>
            <p:cNvPr id="30" name="Rectangle 11"/>
            <p:cNvSpPr txBox="1">
              <a:spLocks/>
            </p:cNvSpPr>
            <p:nvPr/>
          </p:nvSpPr>
          <p:spPr>
            <a:xfrm>
              <a:off x="4411584" y="963884"/>
              <a:ext cx="532024" cy="15140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87" lvl="1" indent="0" algn="l" rtl="0">
                <a:spcAft>
                  <a:spcPts val="500"/>
                </a:spcAft>
                <a:buClrTx/>
                <a:buNone/>
              </a:pPr>
              <a:endParaRPr lang="ru" sz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endParaRPr>
            </a:p>
            <a:p>
              <a:pPr lvl="1" algn="l" rtl="0">
                <a:spcAft>
                  <a:spcPts val="500"/>
                </a:spcAft>
                <a:buClrTx/>
              </a:pPr>
              <a:r>
                <a:rPr lang="ru-RU" sz="1200" b="0" i="0" u="none" baseline="0" dirty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90 дней</a:t>
              </a:r>
            </a:p>
            <a:p>
              <a:pPr lvl="1" algn="l" rtl="0">
                <a:spcAft>
                  <a:spcPts val="500"/>
                </a:spcAft>
                <a:buClrTx/>
              </a:pPr>
              <a:r>
                <a:rPr lang="ru-RU" sz="1200" b="0" i="0" u="none" baseline="0" dirty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60 дней</a:t>
              </a:r>
            </a:p>
            <a:p>
              <a:pPr lvl="1" algn="l" rtl="0">
                <a:spcAft>
                  <a:spcPts val="500"/>
                </a:spcAft>
                <a:buClrTx/>
              </a:pPr>
              <a:r>
                <a:rPr lang="ru-RU" sz="1200" b="0" i="0" u="none" baseline="0" dirty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30 дней</a:t>
              </a:r>
            </a:p>
            <a:p>
              <a:pPr lvl="1" algn="l" rtl="0">
                <a:spcAft>
                  <a:spcPts val="500"/>
                </a:spcAft>
                <a:buClrTx/>
              </a:pPr>
              <a:r>
                <a:rPr lang="ru-RU" sz="1200" b="0" i="0" u="none" baseline="0" dirty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14 дней</a:t>
              </a:r>
            </a:p>
            <a:p>
              <a:pPr lvl="1" algn="l" rtl="0">
                <a:spcAft>
                  <a:spcPts val="500"/>
                </a:spcAft>
                <a:buClrTx/>
              </a:pPr>
              <a:r>
                <a:rPr lang="ru-RU" sz="1200" b="0" i="0" u="none" baseline="0" dirty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30 дней</a:t>
              </a:r>
            </a:p>
            <a:p>
              <a:pPr lvl="1" algn="l" rtl="0">
                <a:spcAft>
                  <a:spcPts val="500"/>
                </a:spcAft>
                <a:buClrTx/>
              </a:pPr>
              <a:endParaRPr lang="ru" sz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endParaRPr>
            </a:p>
          </p:txBody>
        </p:sp>
        <p:sp>
          <p:nvSpPr>
            <p:cNvPr id="31" name="Rectangle 6"/>
            <p:cNvSpPr txBox="1">
              <a:spLocks/>
            </p:cNvSpPr>
            <p:nvPr/>
          </p:nvSpPr>
          <p:spPr>
            <a:xfrm>
              <a:off x="93054" y="800556"/>
              <a:ext cx="228261" cy="330147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00589F"/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rtl="0">
                <a:buClr>
                  <a:srgbClr val="339966"/>
                </a:buClr>
              </a:pPr>
              <a:r>
                <a:rPr lang="ru-RU" sz="1100" b="1" i="0" u="none" kern="1200" baseline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1</a:t>
              </a:r>
            </a:p>
          </p:txBody>
        </p:sp>
        <p:sp>
          <p:nvSpPr>
            <p:cNvPr id="33" name="Rectangle 6"/>
            <p:cNvSpPr txBox="1">
              <a:spLocks/>
            </p:cNvSpPr>
            <p:nvPr/>
          </p:nvSpPr>
          <p:spPr>
            <a:xfrm>
              <a:off x="207385" y="3508768"/>
              <a:ext cx="1184175" cy="825368"/>
            </a:xfrm>
            <a:prstGeom prst="rect">
              <a:avLst/>
            </a:prstGeom>
            <a:solidFill>
              <a:srgbClr val="C2DBEC"/>
            </a:solidFill>
            <a:ln w="9525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180000" rIns="72002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95250" algn="ctr" rtl="0">
                <a:buClr>
                  <a:srgbClr val="339966"/>
                </a:buClr>
              </a:pPr>
              <a:r>
                <a:rPr lang="ru-RU" sz="1400" b="1" i="0" u="none" baseline="0">
                  <a:latin typeface="Arial"/>
                  <a:ea typeface="ＭＳ Ｐゴシック"/>
                  <a:cs typeface="Arial"/>
                </a:rPr>
                <a:t>Транспортировка и установка</a:t>
              </a:r>
            </a:p>
            <a:p>
              <a:pPr marL="239490" algn="l" rtl="0">
                <a:buClr>
                  <a:srgbClr val="339966"/>
                </a:buClr>
              </a:pPr>
              <a:endParaRPr lang="ru" sz="1100" b="1" dirty="0" smtClean="0">
                <a:latin typeface="Arial"/>
                <a:ea typeface="ＭＳ Ｐゴシック"/>
                <a:cs typeface="Arial"/>
              </a:endParaRPr>
            </a:p>
          </p:txBody>
        </p:sp>
        <p:sp>
          <p:nvSpPr>
            <p:cNvPr id="36" name="Rectangle 6"/>
            <p:cNvSpPr txBox="1">
              <a:spLocks/>
            </p:cNvSpPr>
            <p:nvPr/>
          </p:nvSpPr>
          <p:spPr>
            <a:xfrm>
              <a:off x="102566" y="3352832"/>
              <a:ext cx="228261" cy="330332"/>
            </a:xfrm>
            <a:prstGeom prst="ellipse">
              <a:avLst/>
            </a:prstGeom>
            <a:solidFill>
              <a:srgbClr val="FFFFFF"/>
            </a:solidFill>
            <a:ln w="19050">
              <a:solidFill>
                <a:srgbClr val="00589F"/>
              </a:solidFill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ctr" rtl="0">
                <a:buClr>
                  <a:srgbClr val="339966"/>
                </a:buClr>
              </a:pPr>
              <a:r>
                <a:rPr lang="ru-RU" sz="1100" b="1" i="0" u="none" baseline="0">
                  <a:solidFill>
                    <a:srgbClr val="1F1F1F"/>
                  </a:solidFill>
                  <a:latin typeface="Arial"/>
                  <a:ea typeface="ＭＳ Ｐゴシック"/>
                  <a:cs typeface="Arial"/>
                </a:rPr>
                <a:t>3</a:t>
              </a:r>
              <a:endParaRPr lang="ru" sz="1100" b="1" kern="1200" dirty="0" smtClean="0">
                <a:solidFill>
                  <a:srgbClr val="1F1F1F"/>
                </a:solidFill>
                <a:latin typeface="Arial"/>
                <a:ea typeface="ＭＳ Ｐゴシック"/>
                <a:cs typeface="Arial"/>
              </a:endParaRPr>
            </a:p>
          </p:txBody>
        </p:sp>
      </p:grpSp>
      <p:sp>
        <p:nvSpPr>
          <p:cNvPr id="37" name="Rectangle 6"/>
          <p:cNvSpPr txBox="1">
            <a:spLocks/>
          </p:cNvSpPr>
          <p:nvPr/>
        </p:nvSpPr>
        <p:spPr>
          <a:xfrm>
            <a:off x="240797" y="3124200"/>
            <a:ext cx="368803" cy="351222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ru-RU" sz="1100" b="1" i="0" u="none" baseline="0">
                <a:latin typeface="Arial"/>
                <a:ea typeface="ＭＳ Ｐゴシック"/>
                <a:cs typeface="Arial"/>
              </a:rPr>
              <a:t>2</a:t>
            </a:r>
            <a:endParaRPr lang="ru" sz="1100" b="1" kern="1200" dirty="0" smtClean="0">
              <a:latin typeface="Arial"/>
              <a:ea typeface="ＭＳ Ｐゴシック"/>
              <a:cs typeface="Arial"/>
            </a:endParaRPr>
          </a:p>
        </p:txBody>
      </p:sp>
      <p:sp>
        <p:nvSpPr>
          <p:cNvPr id="38" name="Rectangle 11"/>
          <p:cNvSpPr txBox="1"/>
          <p:nvPr/>
        </p:nvSpPr>
        <p:spPr>
          <a:xfrm>
            <a:off x="2670469" y="3508762"/>
            <a:ext cx="4218500" cy="68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algn="l" rtl="0">
              <a:spcBef>
                <a:spcPts val="0"/>
              </a:spcBef>
              <a:spcAft>
                <a:spcPts val="500"/>
              </a:spcAft>
              <a:buClrTx/>
            </a:pPr>
            <a:r>
              <a:rPr lang="ru-RU" sz="1200" b="0" i="0" u="none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Размещение коммерческого предложения (PO) на ОХЦ и пакет обслуживания</a:t>
            </a:r>
          </a:p>
          <a:p>
            <a:pPr lvl="1" algn="l" rtl="0">
              <a:spcBef>
                <a:spcPts val="0"/>
              </a:spcBef>
              <a:spcAft>
                <a:spcPts val="500"/>
              </a:spcAft>
              <a:buClrTx/>
            </a:pPr>
            <a:r>
              <a:rPr lang="ru-RU" sz="1200" b="0" i="0" u="none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Производство ОХЦ (поэтапная доставка)</a:t>
            </a:r>
            <a:endParaRPr lang="ru" sz="1200" baseline="30000" dirty="0" smtClean="0">
              <a:solidFill>
                <a:srgbClr val="1F1F1F"/>
              </a:solidFill>
              <a:latin typeface="Arial"/>
              <a:ea typeface="ＭＳ Ｐゴシック"/>
              <a:cs typeface="Arial"/>
            </a:endParaRPr>
          </a:p>
          <a:p>
            <a:pPr lvl="1" algn="l" rtl="0">
              <a:spcBef>
                <a:spcPts val="0"/>
              </a:spcBef>
              <a:spcAft>
                <a:spcPts val="500"/>
              </a:spcAft>
              <a:buClrTx/>
            </a:pPr>
            <a:r>
              <a:rPr lang="ru-RU" sz="1200" b="0" i="0" u="none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Международные грузоперевозки и таможенное оформление</a:t>
            </a:r>
            <a:r>
              <a:rPr lang="ru-RU" sz="1200" b="0" i="0" u="none" baseline="3000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2</a:t>
            </a:r>
            <a:endParaRPr lang="ru" sz="1200" dirty="0" smtClean="0">
              <a:solidFill>
                <a:srgbClr val="1F1F1F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39" name="Rectangle 11"/>
          <p:cNvSpPr txBox="1">
            <a:spLocks/>
          </p:cNvSpPr>
          <p:nvPr/>
        </p:nvSpPr>
        <p:spPr>
          <a:xfrm>
            <a:off x="7160259" y="3508762"/>
            <a:ext cx="993141" cy="68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algn="l" rtl="0">
              <a:spcBef>
                <a:spcPts val="0"/>
              </a:spcBef>
              <a:spcAft>
                <a:spcPts val="500"/>
              </a:spcAft>
              <a:buClrTx/>
            </a:pPr>
            <a:r>
              <a:rPr lang="ru-RU" sz="1200" b="0" i="0" u="none" baseline="0" dirty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50 дней</a:t>
            </a:r>
          </a:p>
          <a:p>
            <a:pPr lvl="1" algn="l" rtl="0">
              <a:spcBef>
                <a:spcPts val="0"/>
              </a:spcBef>
              <a:spcAft>
                <a:spcPts val="500"/>
              </a:spcAft>
              <a:buClrTx/>
            </a:pPr>
            <a:r>
              <a:rPr lang="ru-RU" sz="1200" b="0" i="0" u="none" baseline="0" dirty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30 дней</a:t>
            </a:r>
          </a:p>
          <a:p>
            <a:pPr lvl="1" algn="l" rtl="0">
              <a:spcBef>
                <a:spcPts val="0"/>
              </a:spcBef>
              <a:spcAft>
                <a:spcPts val="500"/>
              </a:spcAft>
              <a:buClrTx/>
            </a:pPr>
            <a:r>
              <a:rPr lang="ru-RU" sz="1200" b="0" i="0" u="none" baseline="0" dirty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60 дней</a:t>
            </a:r>
          </a:p>
        </p:txBody>
      </p:sp>
      <p:sp>
        <p:nvSpPr>
          <p:cNvPr id="40" name="Rectangle 39"/>
          <p:cNvSpPr/>
          <p:nvPr/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 rtl="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ru" dirty="0" smtClean="0"/>
          </a:p>
        </p:txBody>
      </p:sp>
      <p:sp>
        <p:nvSpPr>
          <p:cNvPr id="41" name="Rectangle 40"/>
          <p:cNvSpPr/>
          <p:nvPr/>
        </p:nvSpPr>
        <p:spPr>
          <a:xfrm>
            <a:off x="99430" y="92588"/>
            <a:ext cx="3513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914400" rtl="0">
              <a:defRPr/>
            </a:pPr>
            <a:r>
              <a:rPr lang="ru-RU" b="1" i="0" u="none" baseline="0">
                <a:solidFill>
                  <a:schemeClr val="bg1"/>
                </a:solidFill>
                <a:latin typeface="Arial"/>
                <a:ea typeface="ＭＳ Ｐゴシック"/>
                <a:cs typeface="Arial"/>
              </a:rPr>
              <a:t>C</a:t>
            </a:r>
            <a:endParaRPr lang="ru" b="1" dirty="0">
              <a:solidFill>
                <a:schemeClr val="bg1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43" name="Title 1"/>
          <p:cNvSpPr txBox="1">
            <a:spLocks/>
          </p:cNvSpPr>
          <p:nvPr/>
        </p:nvSpPr>
        <p:spPr bwMode="gray">
          <a:xfrm>
            <a:off x="609600" y="637401"/>
            <a:ext cx="831281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defTabSz="685800" rtl="0"/>
            <a:r>
              <a:rPr lang="ru-RU" b="1" i="0" u="none" baseline="0">
                <a:solidFill>
                  <a:srgbClr val="1F1F1F"/>
                </a:solidFill>
                <a:latin typeface="Arial"/>
                <a:cs typeface="Arial"/>
              </a:rPr>
              <a:t>Сроки</a:t>
            </a:r>
          </a:p>
        </p:txBody>
      </p:sp>
      <p:sp>
        <p:nvSpPr>
          <p:cNvPr id="44" name="Rectangle 3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2667000" y="1371600"/>
            <a:ext cx="3203506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lvl="0" algn="l" defTabSz="895350" eaLnBrk="1" hangingPunct="1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l" rtl="0" fontAlgn="base">
              <a:spcBef>
                <a:spcPct val="0"/>
              </a:spcBef>
              <a:spcAft>
                <a:spcPct val="0"/>
              </a:spcAft>
              <a:buClr>
                <a:srgbClr val="339966"/>
              </a:buClr>
            </a:pPr>
            <a:r>
              <a:rPr lang="ru-RU" sz="1300" b="1" i="0" u="none" baseline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Мероприятия</a:t>
            </a:r>
            <a:endParaRPr lang="ru" sz="1300" b="1" dirty="0">
              <a:solidFill>
                <a:srgbClr val="E0EDFD">
                  <a:lumMod val="10000"/>
                </a:srgbClr>
              </a:solidFill>
              <a:latin typeface="Arial"/>
              <a:ea typeface="ＭＳ Ｐゴシック"/>
              <a:cs typeface="Arial"/>
            </a:endParaRPr>
          </a:p>
        </p:txBody>
      </p:sp>
      <p:pic>
        <p:nvPicPr>
          <p:cNvPr id="45" name="Picture 44"/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2588831" y="1643019"/>
            <a:ext cx="5943600" cy="81036"/>
          </a:xfrm>
          <a:prstGeom prst="rect">
            <a:avLst/>
          </a:prstGeom>
        </p:spPr>
      </p:pic>
      <p:pic>
        <p:nvPicPr>
          <p:cNvPr id="46" name="Picture 45"/>
          <p:cNvPicPr>
            <a:picLocks/>
          </p:cNvPicPr>
          <p:nvPr/>
        </p:nvPicPr>
        <p:blipFill>
          <a:blip r:embed="rId10">
            <a:alphaModFix amt="66000"/>
          </a:blip>
          <a:stretch>
            <a:fillRect/>
          </a:stretch>
        </p:blipFill>
        <p:spPr>
          <a:xfrm>
            <a:off x="2588831" y="3302278"/>
            <a:ext cx="5943600" cy="27432"/>
          </a:xfrm>
          <a:prstGeom prst="rect">
            <a:avLst/>
          </a:prstGeom>
          <a:ln>
            <a:solidFill>
              <a:srgbClr val="F5FBBC"/>
            </a:solidFill>
          </a:ln>
        </p:spPr>
      </p:pic>
      <p:pic>
        <p:nvPicPr>
          <p:cNvPr id="47" name="Picture 46"/>
          <p:cNvPicPr>
            <a:picLocks/>
          </p:cNvPicPr>
          <p:nvPr/>
        </p:nvPicPr>
        <p:blipFill>
          <a:blip r:embed="rId10">
            <a:alphaModFix amt="66000"/>
          </a:blip>
          <a:stretch>
            <a:fillRect/>
          </a:stretch>
        </p:blipFill>
        <p:spPr>
          <a:xfrm>
            <a:off x="2588831" y="4419600"/>
            <a:ext cx="5943600" cy="27432"/>
          </a:xfrm>
          <a:prstGeom prst="rect">
            <a:avLst/>
          </a:prstGeom>
          <a:ln>
            <a:solidFill>
              <a:srgbClr val="F5FBBC"/>
            </a:solidFill>
          </a:ln>
        </p:spPr>
      </p:pic>
      <p:pic>
        <p:nvPicPr>
          <p:cNvPr id="49" name="Picture 48"/>
          <p:cNvPicPr>
            <a:picLocks/>
          </p:cNvPicPr>
          <p:nvPr/>
        </p:nvPicPr>
        <p:blipFill>
          <a:blip r:embed="rId10">
            <a:alphaModFix amt="66000"/>
          </a:blip>
          <a:stretch>
            <a:fillRect/>
          </a:stretch>
        </p:blipFill>
        <p:spPr>
          <a:xfrm>
            <a:off x="2588831" y="5381928"/>
            <a:ext cx="5943600" cy="27432"/>
          </a:xfrm>
          <a:prstGeom prst="rect">
            <a:avLst/>
          </a:prstGeom>
          <a:ln>
            <a:solidFill>
              <a:srgbClr val="F5FBBC"/>
            </a:solidFill>
          </a:ln>
        </p:spPr>
      </p:pic>
      <p:sp>
        <p:nvSpPr>
          <p:cNvPr id="50" name="Title 1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56182" y="106680"/>
            <a:ext cx="848781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defTabSz="911521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</a:pPr>
            <a:r>
              <a:rPr lang="ru-RU" sz="1400" b="1" i="0" u="none" baseline="0" dirty="0">
                <a:solidFill>
                  <a:schemeClr val="bg1"/>
                </a:solidFill>
                <a:latin typeface="Arial Narrow"/>
                <a:cs typeface="Arial Narrow"/>
              </a:rPr>
              <a:t>Закупка ОХЦ и его поставка в страны займет около 12 месяцев </a:t>
            </a:r>
            <a:endParaRPr lang="ru" sz="1400" b="1" dirty="0">
              <a:solidFill>
                <a:schemeClr val="bg1"/>
              </a:solidFill>
              <a:latin typeface="Arial Narrow"/>
              <a:cs typeface="Arial Narrow"/>
            </a:endParaRPr>
          </a:p>
        </p:txBody>
      </p:sp>
      <p:pic>
        <p:nvPicPr>
          <p:cNvPr id="51" name="Picture 50"/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990600"/>
            <a:ext cx="9144000" cy="81036"/>
          </a:xfrm>
          <a:prstGeom prst="rect">
            <a:avLst/>
          </a:prstGeom>
        </p:spPr>
      </p:pic>
      <p:sp>
        <p:nvSpPr>
          <p:cNvPr id="4" name="Horizontal Scroll 3"/>
          <p:cNvSpPr/>
          <p:nvPr/>
        </p:nvSpPr>
        <p:spPr>
          <a:xfrm>
            <a:off x="7378682" y="5498745"/>
            <a:ext cx="1139894" cy="428490"/>
          </a:xfrm>
          <a:prstGeom prst="horizontalScroll">
            <a:avLst/>
          </a:prstGeom>
          <a:solidFill>
            <a:srgbClr val="00589F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1329" rtl="0">
              <a:tabLst>
                <a:tab pos="368985" algn="l"/>
              </a:tabLst>
              <a:defRPr/>
            </a:pPr>
            <a:r>
              <a:rPr lang="ru-RU" sz="1100" b="1" i="0" u="none" baseline="0">
                <a:solidFill>
                  <a:schemeClr val="bg1"/>
                </a:solidFill>
                <a:cs typeface="Arial"/>
              </a:rPr>
              <a:t>17 месяцев</a:t>
            </a:r>
            <a:endParaRPr lang="ru" sz="1100" b="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32" name="Horizontal Scroll 31"/>
          <p:cNvSpPr/>
          <p:nvPr/>
        </p:nvSpPr>
        <p:spPr>
          <a:xfrm>
            <a:off x="7378682" y="4219710"/>
            <a:ext cx="1139894" cy="428490"/>
          </a:xfrm>
          <a:prstGeom prst="horizontalScroll">
            <a:avLst/>
          </a:prstGeom>
          <a:solidFill>
            <a:srgbClr val="00589F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1329" rtl="0">
              <a:tabLst>
                <a:tab pos="368985" algn="l"/>
              </a:tabLst>
              <a:defRPr/>
            </a:pPr>
            <a:r>
              <a:rPr lang="ru-RU" sz="1100" b="1" i="0" u="none" baseline="0">
                <a:solidFill>
                  <a:schemeClr val="bg1"/>
                </a:solidFill>
                <a:cs typeface="Arial"/>
              </a:rPr>
              <a:t>364 дня</a:t>
            </a:r>
          </a:p>
        </p:txBody>
      </p:sp>
      <p:sp>
        <p:nvSpPr>
          <p:cNvPr id="34" name="Title 1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6781799" y="651616"/>
            <a:ext cx="2382516" cy="923330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defTabSz="911521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</a:pPr>
            <a:r>
              <a:rPr lang="ru-RU" sz="1200" b="1" i="0" u="none" baseline="0" dirty="0">
                <a:solidFill>
                  <a:schemeClr val="bg1"/>
                </a:solidFill>
                <a:latin typeface="Arial Narrow"/>
                <a:cs typeface="Arial Narrow"/>
              </a:rPr>
              <a:t>В сотрудничестве с Министерством здравоохранения и партнерами Гави будет работать над сокращением сроков за счет параллельного выполнения ряда </a:t>
            </a:r>
            <a:r>
              <a:rPr lang="ru-RU" sz="1200" b="1" i="0" u="none" baseline="0" dirty="0" smtClean="0">
                <a:solidFill>
                  <a:schemeClr val="bg1"/>
                </a:solidFill>
                <a:latin typeface="Arial Narrow"/>
                <a:cs typeface="Arial Narrow"/>
              </a:rPr>
              <a:t>этапов</a:t>
            </a:r>
            <a:endParaRPr lang="ru" sz="1200" b="1" dirty="0">
              <a:solidFill>
                <a:schemeClr val="bg1"/>
              </a:solidFill>
              <a:latin typeface="Arial Narrow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2617949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Freeform 71"/>
          <p:cNvSpPr/>
          <p:nvPr/>
        </p:nvSpPr>
        <p:spPr bwMode="gray">
          <a:xfrm flipH="1">
            <a:off x="7830070" y="4330910"/>
            <a:ext cx="45719" cy="877302"/>
          </a:xfrm>
          <a:custGeom>
            <a:avLst/>
            <a:gdLst>
              <a:gd name="connsiteX0" fmla="*/ 0 w 0"/>
              <a:gd name="connsiteY0" fmla="*/ 0 h 609600"/>
              <a:gd name="connsiteX1" fmla="*/ 0 w 0"/>
              <a:gd name="connsiteY1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09600">
                <a:moveTo>
                  <a:pt x="0" y="0"/>
                </a:moveTo>
                <a:lnTo>
                  <a:pt x="0" y="609600"/>
                </a:lnTo>
              </a:path>
            </a:pathLst>
          </a:custGeom>
          <a:noFill/>
          <a:ln w="19050">
            <a:solidFill>
              <a:srgbClr val="DE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rgbClr val="000000"/>
              </a:buClr>
            </a:pPr>
            <a:endParaRPr lang="ru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2" name="Curved Up Ribbon 1"/>
          <p:cNvSpPr/>
          <p:nvPr/>
        </p:nvSpPr>
        <p:spPr>
          <a:xfrm>
            <a:off x="7137936" y="5007628"/>
            <a:ext cx="1675864" cy="580238"/>
          </a:xfrm>
          <a:prstGeom prst="ellipseRibbon2">
            <a:avLst>
              <a:gd name="adj1" fmla="val 29847"/>
              <a:gd name="adj2" fmla="val 63789"/>
              <a:gd name="adj3" fmla="val 8520"/>
            </a:avLst>
          </a:prstGeom>
          <a:solidFill>
            <a:srgbClr val="D3020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" dirty="0" err="1" smtClean="0">
              <a:solidFill>
                <a:srgbClr val="800000"/>
              </a:solidFill>
            </a:endParaRPr>
          </a:p>
        </p:txBody>
      </p:sp>
      <p:sp>
        <p:nvSpPr>
          <p:cNvPr id="11" name="Freeform 10"/>
          <p:cNvSpPr/>
          <p:nvPr/>
        </p:nvSpPr>
        <p:spPr bwMode="gray">
          <a:xfrm>
            <a:off x="753534" y="3424626"/>
            <a:ext cx="0" cy="609600"/>
          </a:xfrm>
          <a:custGeom>
            <a:avLst/>
            <a:gdLst>
              <a:gd name="connsiteX0" fmla="*/ 0 w 0"/>
              <a:gd name="connsiteY0" fmla="*/ 0 h 609600"/>
              <a:gd name="connsiteX1" fmla="*/ 0 w 0"/>
              <a:gd name="connsiteY1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09600">
                <a:moveTo>
                  <a:pt x="0" y="0"/>
                </a:moveTo>
                <a:lnTo>
                  <a:pt x="0" y="609600"/>
                </a:lnTo>
              </a:path>
            </a:pathLst>
          </a:custGeom>
          <a:ln>
            <a:solidFill>
              <a:srgbClr val="00589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rgbClr val="000000"/>
              </a:buClr>
            </a:pPr>
            <a:endParaRPr lang="ru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12" name="Freeform 11"/>
          <p:cNvSpPr/>
          <p:nvPr/>
        </p:nvSpPr>
        <p:spPr bwMode="gray">
          <a:xfrm>
            <a:off x="3159988" y="2621059"/>
            <a:ext cx="1524000" cy="1388534"/>
          </a:xfrm>
          <a:custGeom>
            <a:avLst/>
            <a:gdLst>
              <a:gd name="connsiteX0" fmla="*/ 0 w 1524000"/>
              <a:gd name="connsiteY0" fmla="*/ 1388534 h 1388534"/>
              <a:gd name="connsiteX1" fmla="*/ 0 w 1524000"/>
              <a:gd name="connsiteY1" fmla="*/ 1117600 h 1388534"/>
              <a:gd name="connsiteX2" fmla="*/ 1524000 w 1524000"/>
              <a:gd name="connsiteY2" fmla="*/ 1117600 h 1388534"/>
              <a:gd name="connsiteX3" fmla="*/ 1524000 w 1524000"/>
              <a:gd name="connsiteY3" fmla="*/ 0 h 1388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4000" h="1388534">
                <a:moveTo>
                  <a:pt x="0" y="1388534"/>
                </a:moveTo>
                <a:lnTo>
                  <a:pt x="0" y="1117600"/>
                </a:lnTo>
                <a:lnTo>
                  <a:pt x="1524000" y="1117600"/>
                </a:lnTo>
                <a:lnTo>
                  <a:pt x="1524000" y="0"/>
                </a:lnTo>
              </a:path>
            </a:pathLst>
          </a:custGeom>
          <a:ln>
            <a:solidFill>
              <a:srgbClr val="00589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rgbClr val="000000"/>
              </a:buClr>
            </a:pPr>
            <a:endParaRPr lang="ru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70" name="Freeform 69"/>
          <p:cNvSpPr/>
          <p:nvPr/>
        </p:nvSpPr>
        <p:spPr bwMode="gray">
          <a:xfrm flipH="1">
            <a:off x="7830071" y="2654160"/>
            <a:ext cx="45719" cy="1380066"/>
          </a:xfrm>
          <a:custGeom>
            <a:avLst/>
            <a:gdLst>
              <a:gd name="connsiteX0" fmla="*/ 0 w 0"/>
              <a:gd name="connsiteY0" fmla="*/ 0 h 609600"/>
              <a:gd name="connsiteX1" fmla="*/ 0 w 0"/>
              <a:gd name="connsiteY1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09600">
                <a:moveTo>
                  <a:pt x="0" y="0"/>
                </a:moveTo>
                <a:lnTo>
                  <a:pt x="0" y="609600"/>
                </a:lnTo>
              </a:path>
            </a:pathLst>
          </a:custGeom>
          <a:ln>
            <a:solidFill>
              <a:srgbClr val="00589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rgbClr val="000000"/>
              </a:buClr>
            </a:pPr>
            <a:endParaRPr lang="ru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graphicFrame>
        <p:nvGraphicFramePr>
          <p:cNvPr id="53" name="Object 5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3702557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42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94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3"/>
          <p:cNvSpPr/>
          <p:nvPr/>
        </p:nvSpPr>
        <p:spPr bwMode="gray">
          <a:xfrm flipH="1">
            <a:off x="203200" y="4186908"/>
            <a:ext cx="8610600" cy="0"/>
          </a:xfrm>
          <a:custGeom>
            <a:avLst/>
            <a:gdLst>
              <a:gd name="connsiteX0" fmla="*/ 0 w 8610600"/>
              <a:gd name="connsiteY0" fmla="*/ 0 h 0"/>
              <a:gd name="connsiteX1" fmla="*/ 8610600 w 86106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610600">
                <a:moveTo>
                  <a:pt x="0" y="0"/>
                </a:moveTo>
                <a:lnTo>
                  <a:pt x="8610600" y="0"/>
                </a:lnTo>
              </a:path>
            </a:pathLst>
          </a:custGeom>
          <a:ln w="76200">
            <a:solidFill>
              <a:srgbClr val="00589F"/>
            </a:solidFill>
            <a:headEnd type="triangle" w="lg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rgbClr val="000000"/>
              </a:buClr>
            </a:pPr>
            <a:endParaRPr lang="ru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54" name="Oval 53"/>
          <p:cNvSpPr>
            <a:spLocks noChangeAspect="1"/>
          </p:cNvSpPr>
          <p:nvPr/>
        </p:nvSpPr>
        <p:spPr bwMode="gray">
          <a:xfrm>
            <a:off x="6934200" y="724632"/>
            <a:ext cx="365760" cy="365760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00589F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0" tIns="45711" rIns="91420" bIns="45711" rtlCol="0" anchor="ctr"/>
          <a:lstStyle/>
          <a:p>
            <a:pPr algn="ctr" rtl="0"/>
            <a:r>
              <a:rPr lang="ru-RU" sz="1200" b="0" i="0" u="none" baseline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x</a:t>
            </a:r>
            <a:endParaRPr lang="ru" sz="12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55" name="Title 1"/>
          <p:cNvSpPr txBox="1">
            <a:spLocks/>
          </p:cNvSpPr>
          <p:nvPr/>
        </p:nvSpPr>
        <p:spPr bwMode="gray">
          <a:xfrm>
            <a:off x="7391400" y="704857"/>
            <a:ext cx="16002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9298" algn="l"/>
              </a:tabLst>
              <a:defRPr sz="1900" b="1">
                <a:solidFill>
                  <a:schemeClr val="accent5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 defTabSz="914206" rtl="0"/>
            <a:r>
              <a:rPr lang="ru-RU" sz="1200" b="1" i="0" u="none" baseline="0" dirty="0">
                <a:solidFill>
                  <a:schemeClr val="tx1"/>
                </a:solidFill>
                <a:latin typeface="Arial"/>
                <a:ea typeface="+mn-ea"/>
                <a:cs typeface="Arial"/>
              </a:rPr>
              <a:t>Количество недель до поставки</a:t>
            </a:r>
            <a:endParaRPr lang="ru" sz="1200" dirty="0">
              <a:solidFill>
                <a:schemeClr val="tx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8" name="Rectangle 7"/>
          <p:cNvSpPr/>
          <p:nvPr/>
        </p:nvSpPr>
        <p:spPr bwMode="gray">
          <a:xfrm>
            <a:off x="245933" y="1676400"/>
            <a:ext cx="3716467" cy="1739760"/>
          </a:xfrm>
          <a:prstGeom prst="rect">
            <a:avLst/>
          </a:prstGeom>
          <a:solidFill>
            <a:srgbClr val="C2DBEC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rgbClr val="000000"/>
              </a:buClr>
            </a:pPr>
            <a:endParaRPr lang="ru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56" name="Rectangle 55"/>
          <p:cNvSpPr/>
          <p:nvPr/>
        </p:nvSpPr>
        <p:spPr bwMode="gray">
          <a:xfrm>
            <a:off x="2680614" y="4940158"/>
            <a:ext cx="1950655" cy="927241"/>
          </a:xfrm>
          <a:prstGeom prst="rect">
            <a:avLst/>
          </a:prstGeom>
          <a:solidFill>
            <a:srgbClr val="C2DBEC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rgbClr val="000000"/>
              </a:buClr>
            </a:pPr>
            <a:endParaRPr lang="ru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57" name="Rectangle 56"/>
          <p:cNvSpPr/>
          <p:nvPr/>
        </p:nvSpPr>
        <p:spPr bwMode="gray">
          <a:xfrm>
            <a:off x="4174696" y="1920839"/>
            <a:ext cx="1845104" cy="1515534"/>
          </a:xfrm>
          <a:prstGeom prst="rect">
            <a:avLst/>
          </a:prstGeom>
          <a:solidFill>
            <a:srgbClr val="99C837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rgbClr val="000000"/>
              </a:buClr>
            </a:pPr>
            <a:endParaRPr lang="ru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58" name="Rectangle 57"/>
          <p:cNvSpPr/>
          <p:nvPr/>
        </p:nvSpPr>
        <p:spPr bwMode="gray">
          <a:xfrm>
            <a:off x="4969933" y="4940510"/>
            <a:ext cx="1964268" cy="1077692"/>
          </a:xfrm>
          <a:prstGeom prst="rect">
            <a:avLst/>
          </a:prstGeom>
          <a:solidFill>
            <a:srgbClr val="00589F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rgbClr val="000000"/>
              </a:buClr>
            </a:pPr>
            <a:endParaRPr lang="ru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59" name="Rectangle 58"/>
          <p:cNvSpPr/>
          <p:nvPr/>
        </p:nvSpPr>
        <p:spPr bwMode="gray">
          <a:xfrm>
            <a:off x="6213490" y="1920839"/>
            <a:ext cx="2397110" cy="1515534"/>
          </a:xfrm>
          <a:prstGeom prst="rect">
            <a:avLst/>
          </a:prstGeom>
          <a:solidFill>
            <a:srgbClr val="C2DBEC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rgbClr val="000000"/>
              </a:buClr>
            </a:pPr>
            <a:endParaRPr lang="ru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9" name="Rectangle 9"/>
          <p:cNvSpPr txBox="1"/>
          <p:nvPr/>
        </p:nvSpPr>
        <p:spPr bwMode="gray">
          <a:xfrm>
            <a:off x="430709" y="1829306"/>
            <a:ext cx="3531691" cy="15234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lvl="1" algn="l" rtl="0">
              <a:buClr>
                <a:srgbClr val="000000"/>
              </a:buClr>
              <a:buSzPct val="100000"/>
            </a:pPr>
            <a:r>
              <a:rPr lang="ru-RU" sz="1100" b="0" i="0" u="none" baseline="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Составить </a:t>
            </a:r>
            <a:r>
              <a:rPr lang="ru-RU" sz="1100" b="1" i="0" u="none" baseline="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полный список всего ожидаемого ОХЦ,</a:t>
            </a:r>
            <a:r>
              <a:rPr lang="ru-RU" sz="1100" b="0" i="0" u="none" baseline="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 включая даты поставки и информацию о ключевых контактных лицах</a:t>
            </a:r>
          </a:p>
          <a:p>
            <a:pPr lvl="1" algn="l" rtl="0">
              <a:buClr>
                <a:srgbClr val="000000"/>
              </a:buClr>
              <a:buSzPct val="100000"/>
            </a:pPr>
            <a:r>
              <a:rPr lang="ru-RU" sz="1100" b="0" i="0" u="none" baseline="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Оценить </a:t>
            </a:r>
            <a:r>
              <a:rPr lang="ru-RU" sz="1100" b="1" i="0" u="none" baseline="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дополнительные меры безопасности</a:t>
            </a:r>
            <a:r>
              <a:rPr lang="ru-RU" sz="1100" b="0" i="0" u="none" baseline="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, которые могут потребоваться для ОХЦ после установки (например, замки, болты и т. д.)</a:t>
            </a:r>
            <a:r>
              <a:rPr lang="ru-RU" sz="1100" b="0" i="0" u="none" baseline="0" dirty="0">
                <a:latin typeface="Arial"/>
                <a:ea typeface="ＭＳ Ｐゴシック"/>
                <a:cs typeface="Arial"/>
              </a:rPr>
              <a:t> и </a:t>
            </a:r>
            <a:r>
              <a:rPr lang="ru-RU" sz="1100" b="1" i="0" u="none" baseline="0" dirty="0">
                <a:latin typeface="Arial"/>
                <a:ea typeface="ＭＳ Ｐゴシック"/>
                <a:cs typeface="Arial"/>
              </a:rPr>
              <a:t>включить их в план развертывания</a:t>
            </a:r>
          </a:p>
          <a:p>
            <a:pPr lvl="1" algn="l" rtl="0">
              <a:buClr>
                <a:srgbClr val="000000"/>
              </a:buClr>
              <a:buSzPct val="100000"/>
            </a:pPr>
            <a:r>
              <a:rPr lang="ru-RU" sz="1100" b="0" i="0" u="none" baseline="0" dirty="0">
                <a:latin typeface="Arial"/>
                <a:ea typeface="ＭＳ Ｐゴシック"/>
                <a:cs typeface="Arial"/>
              </a:rPr>
              <a:t>Инициировать</a:t>
            </a:r>
            <a:r>
              <a:rPr lang="ru-RU" sz="1100" b="0" i="0" u="none" baseline="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 план </a:t>
            </a:r>
            <a:r>
              <a:rPr lang="ru-RU" sz="1100" b="1" i="0" u="none" baseline="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профилактического обслуживания</a:t>
            </a:r>
            <a:r>
              <a:rPr lang="ru-RU" sz="1100" b="0" i="0" u="none" baseline="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  </a:t>
            </a:r>
            <a:endParaRPr lang="ru" sz="1100" dirty="0">
              <a:solidFill>
                <a:srgbClr val="FF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61" name="Rectangle 9"/>
          <p:cNvSpPr txBox="1"/>
          <p:nvPr/>
        </p:nvSpPr>
        <p:spPr bwMode="gray">
          <a:xfrm>
            <a:off x="4174697" y="1998583"/>
            <a:ext cx="1818874" cy="1354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lvl="1" algn="l" rtl="0">
              <a:buClr>
                <a:srgbClr val="000000"/>
              </a:buClr>
              <a:buSzPct val="100000"/>
            </a:pPr>
            <a:r>
              <a:rPr lang="ru-RU" sz="1100" b="0" i="0" u="none" baseline="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Определить </a:t>
            </a:r>
            <a:r>
              <a:rPr lang="ru-RU" sz="1100" b="1" i="0" u="none" baseline="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план транспортировки</a:t>
            </a:r>
            <a:r>
              <a:rPr lang="ru-RU" sz="1100" b="0" i="0" u="none" baseline="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 для перемещения ОХЦ из порта в </a:t>
            </a:r>
            <a:r>
              <a:rPr lang="ru-RU" sz="1100" b="0" i="0" u="none" baseline="0" dirty="0">
                <a:latin typeface="Arial"/>
                <a:ea typeface="ＭＳ Ｐゴシック"/>
                <a:cs typeface="Arial"/>
              </a:rPr>
              <a:t>место установки, получив сведение от производителя или его местного представителя</a:t>
            </a:r>
            <a:endParaRPr lang="ru" sz="1100" dirty="0">
              <a:latin typeface="Arial"/>
              <a:ea typeface="ＭＳ Ｐゴシック"/>
              <a:cs typeface="Arial"/>
            </a:endParaRPr>
          </a:p>
        </p:txBody>
      </p:sp>
      <p:sp>
        <p:nvSpPr>
          <p:cNvPr id="62" name="Rectangle 9"/>
          <p:cNvSpPr txBox="1"/>
          <p:nvPr/>
        </p:nvSpPr>
        <p:spPr bwMode="gray">
          <a:xfrm>
            <a:off x="2819400" y="5029200"/>
            <a:ext cx="1811869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lvl="1" algn="l" rtl="0">
              <a:buClr>
                <a:srgbClr val="000000"/>
              </a:buClr>
              <a:buSzPct val="100000"/>
            </a:pPr>
            <a:r>
              <a:rPr lang="ru-RU" sz="1200" b="0" i="0" u="none" baseline="0" dirty="0">
                <a:latin typeface="Arial"/>
                <a:ea typeface="ＭＳ Ｐゴシック"/>
                <a:cs typeface="Arial"/>
              </a:rPr>
              <a:t>Подготовиться</a:t>
            </a:r>
            <a:r>
              <a:rPr lang="ru-RU" sz="1200" b="0" i="0" u="none" baseline="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 к требованиям </a:t>
            </a:r>
            <a:r>
              <a:rPr lang="ru-RU" sz="1200" b="1" i="0" u="none" baseline="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таможенного оформления</a:t>
            </a:r>
            <a:r>
              <a:rPr lang="ru-RU" sz="1200" b="0" i="0" u="none" baseline="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 ОХЦ</a:t>
            </a:r>
          </a:p>
        </p:txBody>
      </p:sp>
      <p:sp>
        <p:nvSpPr>
          <p:cNvPr id="63" name="Rectangle 9"/>
          <p:cNvSpPr txBox="1"/>
          <p:nvPr/>
        </p:nvSpPr>
        <p:spPr bwMode="gray">
          <a:xfrm>
            <a:off x="6286500" y="2133600"/>
            <a:ext cx="2324099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lvl="1" algn="l" rtl="0">
              <a:buClr>
                <a:srgbClr val="000000"/>
              </a:buClr>
              <a:buSzPct val="100000"/>
            </a:pPr>
            <a:r>
              <a:rPr lang="ru-RU" sz="1100" b="0" i="0" u="none" baseline="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После доставки оборудования </a:t>
            </a:r>
            <a:r>
              <a:rPr lang="ru-RU" sz="1100" b="0" i="0" u="none" baseline="0" dirty="0">
                <a:latin typeface="Arial"/>
                <a:ea typeface="ＭＳ Ｐゴシック"/>
                <a:cs typeface="Arial"/>
              </a:rPr>
              <a:t>провести проверку</a:t>
            </a:r>
          </a:p>
          <a:p>
            <a:pPr lvl="1" algn="l" rtl="0">
              <a:buClr>
                <a:srgbClr val="000000"/>
              </a:buClr>
              <a:buSzPct val="100000"/>
            </a:pPr>
            <a:r>
              <a:rPr lang="ru-RU" sz="1100" b="0" i="0" u="none" baseline="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Проверить случайную выборку для оценки качества продукции </a:t>
            </a:r>
            <a:endParaRPr lang="ru" sz="1100" dirty="0" smtClean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  <a:p>
            <a:pPr lvl="2" algn="l" rtl="0">
              <a:buClr>
                <a:srgbClr val="000000"/>
              </a:buClr>
            </a:pPr>
            <a:r>
              <a:rPr lang="ru-RU" sz="1100" b="0" i="0" u="none" baseline="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На наличие повреждений</a:t>
            </a:r>
          </a:p>
          <a:p>
            <a:pPr lvl="2" algn="l" rtl="0">
              <a:buClr>
                <a:srgbClr val="000000"/>
              </a:buClr>
            </a:pPr>
            <a:r>
              <a:rPr lang="ru-RU" sz="1100" b="0" i="0" u="none" baseline="0" dirty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На комплектность</a:t>
            </a:r>
          </a:p>
        </p:txBody>
      </p:sp>
      <p:sp>
        <p:nvSpPr>
          <p:cNvPr id="64" name="Rectangle 9"/>
          <p:cNvSpPr txBox="1"/>
          <p:nvPr/>
        </p:nvSpPr>
        <p:spPr bwMode="gray">
          <a:xfrm>
            <a:off x="5158872" y="5029200"/>
            <a:ext cx="1669398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lvl="1" algn="l" rtl="0">
              <a:buClrTx/>
              <a:buSzPct val="100000"/>
            </a:pPr>
            <a:r>
              <a:rPr lang="ru-RU" sz="1200" b="0" i="0" u="none" baseline="0" dirty="0">
                <a:solidFill>
                  <a:srgbClr val="FFFFFF"/>
                </a:solidFill>
                <a:latin typeface="Arial"/>
                <a:ea typeface="ＭＳ Ｐゴシック"/>
                <a:cs typeface="Arial"/>
              </a:rPr>
              <a:t>Регулярно проводить мониторинг для обеспечения благополучной доставки оборудования в страну</a:t>
            </a:r>
            <a:endParaRPr lang="ru" sz="1200" dirty="0">
              <a:solidFill>
                <a:srgbClr val="FFFFFF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69" name="Freeform 68"/>
          <p:cNvSpPr/>
          <p:nvPr/>
        </p:nvSpPr>
        <p:spPr bwMode="gray">
          <a:xfrm>
            <a:off x="5490448" y="4330908"/>
            <a:ext cx="0" cy="609600"/>
          </a:xfrm>
          <a:custGeom>
            <a:avLst/>
            <a:gdLst>
              <a:gd name="connsiteX0" fmla="*/ 0 w 0"/>
              <a:gd name="connsiteY0" fmla="*/ 0 h 609600"/>
              <a:gd name="connsiteX1" fmla="*/ 0 w 0"/>
              <a:gd name="connsiteY1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09600">
                <a:moveTo>
                  <a:pt x="0" y="0"/>
                </a:moveTo>
                <a:lnTo>
                  <a:pt x="0" y="609600"/>
                </a:lnTo>
              </a:path>
            </a:pathLst>
          </a:custGeom>
          <a:ln>
            <a:solidFill>
              <a:srgbClr val="00589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rgbClr val="000000"/>
              </a:buClr>
            </a:pPr>
            <a:endParaRPr lang="ru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13" name="Isosceles Triangle 12"/>
          <p:cNvSpPr/>
          <p:nvPr/>
        </p:nvSpPr>
        <p:spPr bwMode="gray">
          <a:xfrm>
            <a:off x="7778330" y="5562600"/>
            <a:ext cx="222670" cy="191956"/>
          </a:xfrm>
          <a:prstGeom prst="triangle">
            <a:avLst/>
          </a:prstGeom>
          <a:solidFill>
            <a:srgbClr val="F7A731"/>
          </a:solidFill>
          <a:ln w="9525">
            <a:solidFill>
              <a:srgbClr val="F7A7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rgbClr val="000000"/>
              </a:buClr>
            </a:pPr>
            <a:endParaRPr lang="ru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73" name="Title 1"/>
          <p:cNvSpPr txBox="1">
            <a:spLocks/>
          </p:cNvSpPr>
          <p:nvPr/>
        </p:nvSpPr>
        <p:spPr bwMode="gray">
          <a:xfrm>
            <a:off x="7527613" y="5116670"/>
            <a:ext cx="9305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9298" algn="l"/>
              </a:tabLst>
              <a:defRPr sz="1900" b="1">
                <a:solidFill>
                  <a:schemeClr val="accent5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rtl="0">
              <a:buClr>
                <a:srgbClr val="000000"/>
              </a:buClr>
            </a:pPr>
            <a:r>
              <a:rPr lang="ru-RU" sz="1200" b="1" i="0" u="none" baseline="0" dirty="0">
                <a:solidFill>
                  <a:schemeClr val="bg1"/>
                </a:solidFill>
                <a:latin typeface="Arial"/>
                <a:ea typeface="ＭＳ Ｐゴシック"/>
                <a:cs typeface="Arial"/>
              </a:rPr>
              <a:t>ПРИБЫТИЕ</a:t>
            </a:r>
            <a:endParaRPr lang="ru" sz="1200" dirty="0">
              <a:solidFill>
                <a:schemeClr val="bg1"/>
              </a:solidFill>
              <a:latin typeface="Arial"/>
              <a:ea typeface="ＭＳ Ｐゴシック"/>
              <a:cs typeface="Arial"/>
            </a:endParaRPr>
          </a:p>
        </p:txBody>
      </p:sp>
      <p:pic>
        <p:nvPicPr>
          <p:cNvPr id="75" name="Picture 3" descr="C:\Users\Uche.Solina\Desktop\Pictures Kano vscm\20140218_124028.jpg"/>
          <p:cNvPicPr preferRelativeResize="0">
            <a:picLocks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gray">
          <a:xfrm>
            <a:off x="251150" y="4724400"/>
            <a:ext cx="2020392" cy="1495320"/>
          </a:xfrm>
          <a:prstGeom prst="rect">
            <a:avLst/>
          </a:prstGeom>
          <a:solidFill>
            <a:srgbClr val="FFFFFF">
              <a:shade val="85000"/>
            </a:srgbClr>
          </a:solidFill>
          <a:ln w="19050" cap="sq" cmpd="sng">
            <a:solidFill>
              <a:srgbClr val="00589F"/>
            </a:solidFill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9" name="Freeform 18"/>
          <p:cNvSpPr/>
          <p:nvPr/>
        </p:nvSpPr>
        <p:spPr bwMode="gray">
          <a:xfrm>
            <a:off x="1930402" y="4339026"/>
            <a:ext cx="1693333" cy="601133"/>
          </a:xfrm>
          <a:custGeom>
            <a:avLst/>
            <a:gdLst>
              <a:gd name="connsiteX0" fmla="*/ 0 w 1693333"/>
              <a:gd name="connsiteY0" fmla="*/ 0 h 601133"/>
              <a:gd name="connsiteX1" fmla="*/ 0 w 1693333"/>
              <a:gd name="connsiteY1" fmla="*/ 186266 h 601133"/>
              <a:gd name="connsiteX2" fmla="*/ 1693333 w 1693333"/>
              <a:gd name="connsiteY2" fmla="*/ 186266 h 601133"/>
              <a:gd name="connsiteX3" fmla="*/ 1693333 w 1693333"/>
              <a:gd name="connsiteY3" fmla="*/ 601133 h 601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93333" h="601133">
                <a:moveTo>
                  <a:pt x="0" y="0"/>
                </a:moveTo>
                <a:lnTo>
                  <a:pt x="0" y="186266"/>
                </a:lnTo>
                <a:lnTo>
                  <a:pt x="1693333" y="186266"/>
                </a:lnTo>
                <a:lnTo>
                  <a:pt x="1693333" y="601133"/>
                </a:lnTo>
              </a:path>
            </a:pathLst>
          </a:custGeom>
          <a:ln>
            <a:solidFill>
              <a:srgbClr val="00589F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rgbClr val="000000"/>
              </a:buClr>
            </a:pPr>
            <a:endParaRPr lang="ru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3" name="Rectangle 4"/>
          <p:cNvSpPr txBox="1"/>
          <p:nvPr/>
        </p:nvSpPr>
        <p:spPr>
          <a:xfrm>
            <a:off x="7350460" y="5827295"/>
            <a:ext cx="146200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algn="l" rtl="0">
              <a:buClr>
                <a:srgbClr val="339966"/>
              </a:buClr>
            </a:pPr>
            <a:r>
              <a:rPr lang="ru-RU" sz="1000" b="1" i="0" u="none" baseline="0">
                <a:solidFill>
                  <a:schemeClr val="bg1">
                    <a:lumMod val="50000"/>
                  </a:schemeClr>
                </a:solidFill>
                <a:latin typeface="Arial"/>
                <a:ea typeface="ＭＳ Ｐゴシック"/>
                <a:cs typeface="Arial"/>
              </a:rPr>
              <a:t>Ключевой KPI:</a:t>
            </a:r>
            <a:r>
              <a:rPr lang="ru-RU" sz="1000" b="0" i="0" u="none" baseline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 </a:t>
            </a:r>
            <a:r>
              <a:rPr lang="ru-RU" sz="1000" b="1" i="0" u="none" baseline="0">
                <a:solidFill>
                  <a:srgbClr val="FF0000"/>
                </a:solidFill>
                <a:latin typeface="Arial"/>
                <a:ea typeface="ＭＳ Ｐゴシック"/>
                <a:cs typeface="Arial"/>
              </a:rPr>
              <a:t>своевременность и полнота прибытия</a:t>
            </a:r>
            <a:endParaRPr lang="ru" sz="1000" b="1" dirty="0">
              <a:solidFill>
                <a:srgbClr val="FF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733799" y="665202"/>
            <a:ext cx="123613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ru-RU" sz="1200" b="1" i="0" u="none" baseline="0" dirty="0">
                <a:latin typeface="Arial"/>
                <a:cs typeface="Arial"/>
              </a:rPr>
              <a:t>Ответственность ЮНИСЕФ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638800" y="696056"/>
            <a:ext cx="129540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200" b="1" dirty="0">
                <a:cs typeface="Arial"/>
              </a:rPr>
              <a:t>Ответственность МЗ</a:t>
            </a:r>
            <a:endParaRPr lang="ru-RU" sz="1200" b="1" i="0" u="none" baseline="0" dirty="0">
              <a:latin typeface="Arial"/>
              <a:cs typeface="Arial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905000" y="707648"/>
            <a:ext cx="127523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ru-RU" sz="1200" b="1" i="0" u="none" baseline="0" dirty="0">
                <a:latin typeface="Arial"/>
                <a:cs typeface="Arial"/>
              </a:rPr>
              <a:t>Ответственность поставщика</a:t>
            </a:r>
          </a:p>
        </p:txBody>
      </p:sp>
      <p:sp>
        <p:nvSpPr>
          <p:cNvPr id="52" name="Rectangle 6"/>
          <p:cNvSpPr txBox="1">
            <a:spLocks/>
          </p:cNvSpPr>
          <p:nvPr/>
        </p:nvSpPr>
        <p:spPr>
          <a:xfrm>
            <a:off x="7692909" y="4004028"/>
            <a:ext cx="365759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ru-RU" sz="1100" b="1" i="0" u="none" kern="1200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0</a:t>
            </a:r>
          </a:p>
        </p:txBody>
      </p:sp>
      <p:sp>
        <p:nvSpPr>
          <p:cNvPr id="60" name="Rectangle 6"/>
          <p:cNvSpPr txBox="1">
            <a:spLocks/>
          </p:cNvSpPr>
          <p:nvPr/>
        </p:nvSpPr>
        <p:spPr>
          <a:xfrm>
            <a:off x="5307568" y="4004028"/>
            <a:ext cx="365759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ru-RU" sz="1100" b="1" i="0" u="none" kern="1200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2</a:t>
            </a:r>
          </a:p>
        </p:txBody>
      </p:sp>
      <p:sp>
        <p:nvSpPr>
          <p:cNvPr id="65" name="Rectangle 6"/>
          <p:cNvSpPr txBox="1">
            <a:spLocks/>
          </p:cNvSpPr>
          <p:nvPr/>
        </p:nvSpPr>
        <p:spPr>
          <a:xfrm>
            <a:off x="1747522" y="4004028"/>
            <a:ext cx="365759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ru-RU" sz="1100" b="1" i="0" u="none" kern="1200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5</a:t>
            </a:r>
          </a:p>
        </p:txBody>
      </p:sp>
      <p:sp>
        <p:nvSpPr>
          <p:cNvPr id="66" name="Rectangle 6"/>
          <p:cNvSpPr txBox="1">
            <a:spLocks/>
          </p:cNvSpPr>
          <p:nvPr/>
        </p:nvSpPr>
        <p:spPr>
          <a:xfrm>
            <a:off x="2924389" y="4004028"/>
            <a:ext cx="365759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ru-RU" sz="1100" b="1" i="0" u="none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4</a:t>
            </a:r>
            <a:endParaRPr lang="ru" sz="1100" b="1" kern="1200" dirty="0" smtClean="0">
              <a:solidFill>
                <a:srgbClr val="1F1F1F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67" name="Rectangle 6"/>
          <p:cNvSpPr txBox="1">
            <a:spLocks/>
          </p:cNvSpPr>
          <p:nvPr/>
        </p:nvSpPr>
        <p:spPr>
          <a:xfrm>
            <a:off x="570654" y="4004028"/>
            <a:ext cx="365759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ru-RU" sz="1100" b="1" i="0" u="none" kern="1200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6</a:t>
            </a:r>
          </a:p>
        </p:txBody>
      </p:sp>
      <p:sp>
        <p:nvSpPr>
          <p:cNvPr id="68" name="Rectangle 67"/>
          <p:cNvSpPr/>
          <p:nvPr/>
        </p:nvSpPr>
        <p:spPr bwMode="gray">
          <a:xfrm>
            <a:off x="5181600" y="680442"/>
            <a:ext cx="365760" cy="365760"/>
          </a:xfrm>
          <a:prstGeom prst="rect">
            <a:avLst/>
          </a:prstGeom>
          <a:solidFill>
            <a:srgbClr val="C2DBEC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rgbClr val="000000"/>
              </a:buClr>
            </a:pPr>
            <a:endParaRPr lang="ru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71" name="Rectangle 70"/>
          <p:cNvSpPr/>
          <p:nvPr/>
        </p:nvSpPr>
        <p:spPr bwMode="gray">
          <a:xfrm>
            <a:off x="3291840" y="680442"/>
            <a:ext cx="365760" cy="365760"/>
          </a:xfrm>
          <a:prstGeom prst="rect">
            <a:avLst/>
          </a:prstGeom>
          <a:solidFill>
            <a:srgbClr val="00589F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rgbClr val="000000"/>
              </a:buClr>
            </a:pPr>
            <a:endParaRPr lang="ru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74" name="Rectangle 73"/>
          <p:cNvSpPr/>
          <p:nvPr/>
        </p:nvSpPr>
        <p:spPr bwMode="gray">
          <a:xfrm>
            <a:off x="1463040" y="696056"/>
            <a:ext cx="365760" cy="365760"/>
          </a:xfrm>
          <a:prstGeom prst="rect">
            <a:avLst/>
          </a:prstGeom>
          <a:solidFill>
            <a:srgbClr val="99C837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rgbClr val="000000"/>
              </a:buClr>
            </a:pPr>
            <a:endParaRPr lang="ru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76" name="Rectangle 75"/>
          <p:cNvSpPr/>
          <p:nvPr/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 rtl="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ru" dirty="0" smtClean="0"/>
          </a:p>
        </p:txBody>
      </p:sp>
      <p:sp>
        <p:nvSpPr>
          <p:cNvPr id="77" name="Title 1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56182" y="106680"/>
            <a:ext cx="848781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defTabSz="911521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</a:pPr>
            <a:r>
              <a:rPr lang="ru-RU" sz="1400" b="1" i="0" u="none" baseline="0" dirty="0">
                <a:solidFill>
                  <a:srgbClr val="FFFFFF"/>
                </a:solidFill>
                <a:latin typeface="Arial Narrow"/>
                <a:cs typeface="Arial Narrow"/>
              </a:rPr>
              <a:t>Для обеспечения благополучного прибытия ОХЦ в страну требуется ряд этапов</a:t>
            </a:r>
            <a:endParaRPr lang="ru" sz="1400" b="1" dirty="0">
              <a:solidFill>
                <a:schemeClr val="bg1"/>
              </a:solidFill>
              <a:latin typeface="Arial Narrow"/>
              <a:cs typeface="Arial Narrow"/>
            </a:endParaRPr>
          </a:p>
        </p:txBody>
      </p:sp>
      <p:pic>
        <p:nvPicPr>
          <p:cNvPr id="78" name="Picture 77"/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1214364"/>
            <a:ext cx="9144000" cy="81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159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ject 5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041254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0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02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Freeform 36"/>
          <p:cNvSpPr/>
          <p:nvPr/>
        </p:nvSpPr>
        <p:spPr bwMode="gray">
          <a:xfrm>
            <a:off x="4740185" y="4094961"/>
            <a:ext cx="0" cy="609600"/>
          </a:xfrm>
          <a:custGeom>
            <a:avLst/>
            <a:gdLst>
              <a:gd name="connsiteX0" fmla="*/ 0 w 0"/>
              <a:gd name="connsiteY0" fmla="*/ 0 h 609600"/>
              <a:gd name="connsiteX1" fmla="*/ 0 w 0"/>
              <a:gd name="connsiteY1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09600">
                <a:moveTo>
                  <a:pt x="0" y="0"/>
                </a:moveTo>
                <a:lnTo>
                  <a:pt x="0" y="609600"/>
                </a:lnTo>
              </a:path>
            </a:pathLst>
          </a:custGeom>
          <a:ln w="9525" cmpd="sng">
            <a:solidFill>
              <a:srgbClr val="00589F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0" tIns="45711" rIns="91420" bIns="45711" rtlCol="0" anchor="ctr"/>
          <a:lstStyle/>
          <a:p>
            <a:pPr algn="ctr" rtl="0"/>
            <a:endParaRPr lang="ru" kern="1200" dirty="0">
              <a:solidFill>
                <a:schemeClr val="tx1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1" name="Freeform 10"/>
          <p:cNvSpPr/>
          <p:nvPr/>
        </p:nvSpPr>
        <p:spPr bwMode="gray">
          <a:xfrm>
            <a:off x="753534" y="3197368"/>
            <a:ext cx="0" cy="609600"/>
          </a:xfrm>
          <a:custGeom>
            <a:avLst/>
            <a:gdLst>
              <a:gd name="connsiteX0" fmla="*/ 0 w 0"/>
              <a:gd name="connsiteY0" fmla="*/ 0 h 609600"/>
              <a:gd name="connsiteX1" fmla="*/ 0 w 0"/>
              <a:gd name="connsiteY1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09600">
                <a:moveTo>
                  <a:pt x="0" y="0"/>
                </a:moveTo>
                <a:lnTo>
                  <a:pt x="0" y="609600"/>
                </a:lnTo>
              </a:path>
            </a:pathLst>
          </a:custGeom>
          <a:ln w="9525" cmpd="sng">
            <a:solidFill>
              <a:srgbClr val="00589F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0" tIns="45711" rIns="91420" bIns="45711" rtlCol="0" anchor="ctr"/>
          <a:lstStyle/>
          <a:p>
            <a:pPr algn="ctr" rtl="0"/>
            <a:endParaRPr lang="ru" kern="1200" dirty="0">
              <a:solidFill>
                <a:schemeClr val="tx1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38" name="Freeform 37"/>
          <p:cNvSpPr/>
          <p:nvPr/>
        </p:nvSpPr>
        <p:spPr bwMode="gray">
          <a:xfrm>
            <a:off x="5674037" y="3206052"/>
            <a:ext cx="0" cy="609600"/>
          </a:xfrm>
          <a:custGeom>
            <a:avLst/>
            <a:gdLst>
              <a:gd name="connsiteX0" fmla="*/ 0 w 0"/>
              <a:gd name="connsiteY0" fmla="*/ 0 h 609600"/>
              <a:gd name="connsiteX1" fmla="*/ 0 w 0"/>
              <a:gd name="connsiteY1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09600">
                <a:moveTo>
                  <a:pt x="0" y="0"/>
                </a:moveTo>
                <a:lnTo>
                  <a:pt x="0" y="609600"/>
                </a:lnTo>
              </a:path>
            </a:pathLst>
          </a:custGeom>
          <a:ln w="9525" cmpd="sng">
            <a:solidFill>
              <a:srgbClr val="00589F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0" tIns="45711" rIns="91420" bIns="45711" rtlCol="0" anchor="ctr"/>
          <a:lstStyle/>
          <a:p>
            <a:pPr algn="ctr" rtl="0"/>
            <a:endParaRPr lang="ru" kern="1200" dirty="0">
              <a:solidFill>
                <a:schemeClr val="tx1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44" name="Freeform 43"/>
          <p:cNvSpPr/>
          <p:nvPr/>
        </p:nvSpPr>
        <p:spPr bwMode="gray">
          <a:xfrm>
            <a:off x="7863939" y="3197368"/>
            <a:ext cx="0" cy="609600"/>
          </a:xfrm>
          <a:custGeom>
            <a:avLst/>
            <a:gdLst>
              <a:gd name="connsiteX0" fmla="*/ 0 w 0"/>
              <a:gd name="connsiteY0" fmla="*/ 0 h 609600"/>
              <a:gd name="connsiteX1" fmla="*/ 0 w 0"/>
              <a:gd name="connsiteY1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09600">
                <a:moveTo>
                  <a:pt x="0" y="0"/>
                </a:moveTo>
                <a:lnTo>
                  <a:pt x="0" y="609600"/>
                </a:lnTo>
              </a:path>
            </a:pathLst>
          </a:custGeom>
          <a:ln w="9525" cmpd="sng">
            <a:solidFill>
              <a:srgbClr val="00589F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0" tIns="45711" rIns="91420" bIns="45711" rtlCol="0" anchor="ctr"/>
          <a:lstStyle/>
          <a:p>
            <a:pPr algn="ctr" rtl="0"/>
            <a:endParaRPr lang="ru" kern="1200" dirty="0">
              <a:solidFill>
                <a:schemeClr val="tx1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4" name="Freeform 3"/>
          <p:cNvSpPr/>
          <p:nvPr/>
        </p:nvSpPr>
        <p:spPr bwMode="gray">
          <a:xfrm flipH="1">
            <a:off x="203200" y="3959650"/>
            <a:ext cx="8610600" cy="0"/>
          </a:xfrm>
          <a:custGeom>
            <a:avLst/>
            <a:gdLst>
              <a:gd name="connsiteX0" fmla="*/ 0 w 8610600"/>
              <a:gd name="connsiteY0" fmla="*/ 0 h 0"/>
              <a:gd name="connsiteX1" fmla="*/ 8610600 w 86106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610600">
                <a:moveTo>
                  <a:pt x="0" y="0"/>
                </a:moveTo>
                <a:lnTo>
                  <a:pt x="8610600" y="0"/>
                </a:lnTo>
              </a:path>
            </a:pathLst>
          </a:custGeom>
          <a:ln w="76200">
            <a:solidFill>
              <a:srgbClr val="00589F"/>
            </a:solidFill>
            <a:headEnd type="triangle" w="lg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0" tIns="45711" rIns="91420" bIns="45711" rtlCol="0" anchor="ctr"/>
          <a:lstStyle/>
          <a:p>
            <a:pPr algn="ctr" rtl="0"/>
            <a:endParaRPr lang="ru" kern="1200" dirty="0">
              <a:solidFill>
                <a:schemeClr val="tx1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 bwMode="gray">
          <a:xfrm>
            <a:off x="203200" y="2133600"/>
            <a:ext cx="2540000" cy="1244598"/>
          </a:xfrm>
          <a:prstGeom prst="rect">
            <a:avLst/>
          </a:prstGeom>
          <a:solidFill>
            <a:schemeClr val="bg1"/>
          </a:solidFill>
          <a:ln w="19050">
            <a:solidFill>
              <a:srgbClr val="00589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rtl="0"/>
            <a:endParaRPr lang="ru" dirty="0">
              <a:solidFill>
                <a:schemeClr val="tx1"/>
              </a:solidFill>
              <a:latin typeface="Arial"/>
              <a:ea typeface="ＭＳ Ｐゴシック"/>
            </a:endParaRPr>
          </a:p>
        </p:txBody>
      </p:sp>
      <p:sp>
        <p:nvSpPr>
          <p:cNvPr id="9" name="Rectangle 9"/>
          <p:cNvSpPr txBox="1"/>
          <p:nvPr/>
        </p:nvSpPr>
        <p:spPr bwMode="gray">
          <a:xfrm>
            <a:off x="457200" y="2286000"/>
            <a:ext cx="2002055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lvl="1" algn="l" rtl="0">
              <a:buClrTx/>
              <a:buSzPct val="100000"/>
            </a:pPr>
            <a:r>
              <a:rPr lang="ru-RU" sz="1300" b="0" i="0" u="none" baseline="0" dirty="0">
                <a:latin typeface="Arial"/>
                <a:ea typeface="ＭＳ Ｐゴシック"/>
              </a:rPr>
              <a:t>Проверить</a:t>
            </a:r>
            <a:r>
              <a:rPr lang="ru-RU" sz="1300" b="1" i="0" u="none" baseline="0" dirty="0">
                <a:latin typeface="Arial"/>
                <a:ea typeface="ＭＳ Ｐゴシック"/>
              </a:rPr>
              <a:t> список включенных в программу учреждений</a:t>
            </a:r>
            <a:r>
              <a:rPr lang="ru-RU" sz="1300" b="0" i="0" u="none" baseline="0" dirty="0">
                <a:latin typeface="Arial"/>
                <a:ea typeface="ＭＳ Ｐゴシック"/>
              </a:rPr>
              <a:t> и оценить его точность</a:t>
            </a:r>
          </a:p>
        </p:txBody>
      </p:sp>
      <p:sp>
        <p:nvSpPr>
          <p:cNvPr id="56" name="Rectangle 55"/>
          <p:cNvSpPr/>
          <p:nvPr/>
        </p:nvSpPr>
        <p:spPr bwMode="gray">
          <a:xfrm>
            <a:off x="3860864" y="4597402"/>
            <a:ext cx="4185953" cy="1144811"/>
          </a:xfrm>
          <a:prstGeom prst="rect">
            <a:avLst/>
          </a:prstGeom>
          <a:solidFill>
            <a:schemeClr val="bg1"/>
          </a:solidFill>
          <a:ln w="19050">
            <a:solidFill>
              <a:srgbClr val="00589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rtl="0"/>
            <a:endParaRPr lang="ru" dirty="0">
              <a:solidFill>
                <a:schemeClr val="tx1"/>
              </a:solidFill>
              <a:latin typeface="Arial"/>
              <a:ea typeface="ＭＳ Ｐゴシック"/>
            </a:endParaRPr>
          </a:p>
        </p:txBody>
      </p:sp>
      <p:sp>
        <p:nvSpPr>
          <p:cNvPr id="62" name="Rectangle 9"/>
          <p:cNvSpPr txBox="1"/>
          <p:nvPr/>
        </p:nvSpPr>
        <p:spPr bwMode="gray">
          <a:xfrm>
            <a:off x="4190999" y="4724400"/>
            <a:ext cx="3490060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lvl="1" algn="l" rtl="0">
              <a:buClrTx/>
              <a:buSzPct val="100000"/>
            </a:pPr>
            <a:r>
              <a:rPr lang="ru-RU" sz="1300" b="0" i="0" u="none" baseline="0" dirty="0">
                <a:latin typeface="Arial"/>
                <a:ea typeface="ＭＳ Ｐゴシック"/>
              </a:rPr>
              <a:t>Связаться с районным </a:t>
            </a:r>
            <a:r>
              <a:rPr lang="ru-RU" sz="1300" b="1" i="0" u="none" baseline="0" dirty="0">
                <a:latin typeface="Arial"/>
                <a:ea typeface="ＭＳ Ｐゴシック"/>
              </a:rPr>
              <a:t>руководством</a:t>
            </a:r>
            <a:r>
              <a:rPr lang="ru-RU" sz="1300" b="0" i="0" u="none" baseline="0" dirty="0">
                <a:latin typeface="Arial"/>
                <a:ea typeface="ＭＳ Ｐゴシック"/>
              </a:rPr>
              <a:t> и убедиться в надлежащем понимании программы</a:t>
            </a:r>
          </a:p>
          <a:p>
            <a:pPr lvl="1" algn="l" rtl="0">
              <a:buClrTx/>
              <a:buSzPct val="100000"/>
            </a:pPr>
            <a:r>
              <a:rPr lang="ru-RU" sz="1300" b="0" i="0" u="none" baseline="0" dirty="0">
                <a:latin typeface="Arial"/>
                <a:ea typeface="ＭＳ Ｐゴシック"/>
              </a:rPr>
              <a:t>Уведомить </a:t>
            </a:r>
            <a:r>
              <a:rPr lang="ru-RU" sz="1300" b="1" i="0" u="none" baseline="0" dirty="0">
                <a:latin typeface="Arial"/>
                <a:ea typeface="ＭＳ Ｐゴシック"/>
              </a:rPr>
              <a:t>учреждения</a:t>
            </a:r>
            <a:r>
              <a:rPr lang="ru-RU" sz="1300" b="0" i="0" u="none" baseline="0" dirty="0">
                <a:latin typeface="Arial"/>
                <a:ea typeface="ＭＳ Ｐゴシック"/>
              </a:rPr>
              <a:t> о том, что они выбраны для программы</a:t>
            </a:r>
          </a:p>
        </p:txBody>
      </p:sp>
      <p:sp>
        <p:nvSpPr>
          <p:cNvPr id="39" name="Rectangle 38"/>
          <p:cNvSpPr/>
          <p:nvPr/>
        </p:nvSpPr>
        <p:spPr bwMode="gray">
          <a:xfrm>
            <a:off x="2971800" y="1600201"/>
            <a:ext cx="3452626" cy="1777998"/>
          </a:xfrm>
          <a:prstGeom prst="rect">
            <a:avLst/>
          </a:prstGeom>
          <a:solidFill>
            <a:schemeClr val="bg1"/>
          </a:solidFill>
          <a:ln w="19050">
            <a:solidFill>
              <a:srgbClr val="00589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rtl="0"/>
            <a:endParaRPr lang="ru" dirty="0">
              <a:solidFill>
                <a:schemeClr val="tx1"/>
              </a:solidFill>
              <a:latin typeface="Arial"/>
              <a:ea typeface="ＭＳ Ｐゴシック"/>
            </a:endParaRPr>
          </a:p>
        </p:txBody>
      </p:sp>
      <p:sp>
        <p:nvSpPr>
          <p:cNvPr id="40" name="Rectangle 9"/>
          <p:cNvSpPr txBox="1"/>
          <p:nvPr/>
        </p:nvSpPr>
        <p:spPr bwMode="gray">
          <a:xfrm>
            <a:off x="3124200" y="1828800"/>
            <a:ext cx="3185159" cy="1400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lvl="1" algn="l" rtl="0">
              <a:buClrTx/>
              <a:buSzPct val="100000"/>
            </a:pPr>
            <a:r>
              <a:rPr lang="ru-RU" sz="1300" b="0" i="0" u="none" baseline="0" dirty="0">
                <a:latin typeface="Arial"/>
                <a:ea typeface="ＭＳ Ｐゴシック"/>
              </a:rPr>
              <a:t>Определить региональный </a:t>
            </a:r>
            <a:r>
              <a:rPr lang="ru-RU" sz="1300" b="1" i="0" u="none" baseline="0" dirty="0">
                <a:latin typeface="Arial"/>
                <a:ea typeface="ＭＳ Ｐゴシック"/>
              </a:rPr>
              <a:t>персонал</a:t>
            </a:r>
            <a:r>
              <a:rPr lang="ru-RU" sz="1300" b="0" i="0" u="none" baseline="0" dirty="0">
                <a:latin typeface="Arial"/>
                <a:ea typeface="ＭＳ Ｐゴシック"/>
              </a:rPr>
              <a:t>, который будет присутствовать при установке и нести ответственность за выполнение мониторинга </a:t>
            </a:r>
            <a:endParaRPr lang="ru" sz="1300" b="1" dirty="0" smtClean="0">
              <a:latin typeface="Arial"/>
              <a:ea typeface="ＭＳ Ｐゴシック"/>
            </a:endParaRPr>
          </a:p>
          <a:p>
            <a:pPr lvl="1" algn="l" rtl="0">
              <a:buClrTx/>
              <a:buSzPct val="100000"/>
            </a:pPr>
            <a:r>
              <a:rPr lang="ru-RU" sz="1300" b="0" i="0" u="none" baseline="0" dirty="0">
                <a:latin typeface="Arial"/>
                <a:ea typeface="ＭＳ Ｐゴシック"/>
              </a:rPr>
              <a:t>В сотрудничестве с местным сообществом достигнуть соглашения об обеспечении сохранности ОХЦ</a:t>
            </a:r>
            <a:endParaRPr lang="ru" sz="1300" dirty="0">
              <a:latin typeface="Arial"/>
              <a:ea typeface="ＭＳ Ｐゴシック"/>
            </a:endParaRPr>
          </a:p>
        </p:txBody>
      </p:sp>
      <p:sp>
        <p:nvSpPr>
          <p:cNvPr id="45" name="Rectangle 44"/>
          <p:cNvSpPr/>
          <p:nvPr/>
        </p:nvSpPr>
        <p:spPr bwMode="gray">
          <a:xfrm>
            <a:off x="6692293" y="2133600"/>
            <a:ext cx="2121507" cy="1244598"/>
          </a:xfrm>
          <a:prstGeom prst="rect">
            <a:avLst/>
          </a:prstGeom>
          <a:solidFill>
            <a:schemeClr val="bg1"/>
          </a:solidFill>
          <a:ln w="19050">
            <a:solidFill>
              <a:srgbClr val="00589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rtl="0"/>
            <a:endParaRPr lang="ru" dirty="0">
              <a:solidFill>
                <a:schemeClr val="tx1"/>
              </a:solidFill>
              <a:latin typeface="Arial"/>
              <a:ea typeface="ＭＳ Ｐゴシック"/>
            </a:endParaRPr>
          </a:p>
        </p:txBody>
      </p:sp>
      <p:sp>
        <p:nvSpPr>
          <p:cNvPr id="46" name="Rectangle 9"/>
          <p:cNvSpPr txBox="1"/>
          <p:nvPr/>
        </p:nvSpPr>
        <p:spPr bwMode="gray">
          <a:xfrm>
            <a:off x="6835871" y="2286000"/>
            <a:ext cx="1774730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lvl="1" algn="l" rtl="0">
              <a:buClrTx/>
              <a:buSzPct val="100000"/>
            </a:pPr>
            <a:r>
              <a:rPr lang="ru-RU" sz="1300" b="0" i="0" u="none" baseline="0" dirty="0">
                <a:latin typeface="Arial"/>
                <a:ea typeface="ＭＳ Ｐゴシック"/>
              </a:rPr>
              <a:t>Обеспечить присутствие всего необходимого персонала при установке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270996" y="4597402"/>
            <a:ext cx="3234203" cy="1144811"/>
          </a:xfrm>
          <a:prstGeom prst="rect">
            <a:avLst/>
          </a:prstGeom>
          <a:solidFill>
            <a:schemeClr val="bg1"/>
          </a:solidFill>
          <a:ln w="19050">
            <a:solidFill>
              <a:srgbClr val="00589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rtl="0">
              <a:buSzPct val="100000"/>
            </a:pPr>
            <a:endParaRPr lang="ru" sz="1300" dirty="0">
              <a:solidFill>
                <a:schemeClr val="tx1"/>
              </a:solidFill>
              <a:latin typeface="Arial"/>
              <a:ea typeface="ＭＳ Ｐゴシック"/>
            </a:endParaRPr>
          </a:p>
        </p:txBody>
      </p:sp>
      <p:sp>
        <p:nvSpPr>
          <p:cNvPr id="25" name="Freeform 24"/>
          <p:cNvSpPr/>
          <p:nvPr/>
        </p:nvSpPr>
        <p:spPr bwMode="gray">
          <a:xfrm flipH="1">
            <a:off x="1814699" y="4099938"/>
            <a:ext cx="467458" cy="497463"/>
          </a:xfrm>
          <a:custGeom>
            <a:avLst/>
            <a:gdLst>
              <a:gd name="connsiteX0" fmla="*/ 0 w 0"/>
              <a:gd name="connsiteY0" fmla="*/ 0 h 609600"/>
              <a:gd name="connsiteX1" fmla="*/ 0 w 0"/>
              <a:gd name="connsiteY1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09600">
                <a:moveTo>
                  <a:pt x="0" y="0"/>
                </a:moveTo>
                <a:lnTo>
                  <a:pt x="0" y="609600"/>
                </a:lnTo>
              </a:path>
            </a:pathLst>
          </a:custGeom>
          <a:ln w="9525" cmpd="sng">
            <a:solidFill>
              <a:srgbClr val="00589F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0" tIns="45711" rIns="91420" bIns="45711" rtlCol="0" anchor="ctr"/>
          <a:lstStyle/>
          <a:p>
            <a:pPr algn="ctr" rtl="0"/>
            <a:endParaRPr lang="ru" kern="1200" dirty="0">
              <a:solidFill>
                <a:schemeClr val="tx1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30" name="Rectangle 6"/>
          <p:cNvSpPr txBox="1">
            <a:spLocks/>
          </p:cNvSpPr>
          <p:nvPr/>
        </p:nvSpPr>
        <p:spPr>
          <a:xfrm>
            <a:off x="7681059" y="3776770"/>
            <a:ext cx="365759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ru-RU" sz="1100" b="1" i="0" u="none" kern="1200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1</a:t>
            </a:r>
          </a:p>
        </p:txBody>
      </p:sp>
      <p:sp>
        <p:nvSpPr>
          <p:cNvPr id="31" name="Rectangle 6"/>
          <p:cNvSpPr txBox="1">
            <a:spLocks/>
          </p:cNvSpPr>
          <p:nvPr/>
        </p:nvSpPr>
        <p:spPr>
          <a:xfrm>
            <a:off x="5491157" y="3773547"/>
            <a:ext cx="365759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ru-RU" sz="1100" b="1" i="0" u="none" kern="1200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3</a:t>
            </a:r>
          </a:p>
        </p:txBody>
      </p:sp>
      <p:sp>
        <p:nvSpPr>
          <p:cNvPr id="32" name="Rectangle 6"/>
          <p:cNvSpPr txBox="1">
            <a:spLocks/>
          </p:cNvSpPr>
          <p:nvPr/>
        </p:nvSpPr>
        <p:spPr>
          <a:xfrm>
            <a:off x="2093496" y="3776770"/>
            <a:ext cx="365759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ru-RU" sz="1100" b="1" i="0" u="none" kern="1200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5</a:t>
            </a:r>
          </a:p>
        </p:txBody>
      </p:sp>
      <p:sp>
        <p:nvSpPr>
          <p:cNvPr id="34" name="Rectangle 6"/>
          <p:cNvSpPr txBox="1">
            <a:spLocks/>
          </p:cNvSpPr>
          <p:nvPr/>
        </p:nvSpPr>
        <p:spPr>
          <a:xfrm>
            <a:off x="4572000" y="3773547"/>
            <a:ext cx="365759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ru-RU" sz="1100" b="1" i="0" u="none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4</a:t>
            </a:r>
            <a:endParaRPr lang="ru" sz="1100" b="1" kern="1200" dirty="0" smtClean="0">
              <a:solidFill>
                <a:srgbClr val="1F1F1F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41" name="Rectangle 6"/>
          <p:cNvSpPr txBox="1">
            <a:spLocks/>
          </p:cNvSpPr>
          <p:nvPr/>
        </p:nvSpPr>
        <p:spPr>
          <a:xfrm>
            <a:off x="571369" y="3776770"/>
            <a:ext cx="365759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ru-RU" sz="1100" b="1" i="0" u="none" kern="1200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6</a:t>
            </a:r>
          </a:p>
        </p:txBody>
      </p:sp>
      <p:sp>
        <p:nvSpPr>
          <p:cNvPr id="42" name="Oval 41"/>
          <p:cNvSpPr>
            <a:spLocks noChangeAspect="1"/>
          </p:cNvSpPr>
          <p:nvPr/>
        </p:nvSpPr>
        <p:spPr bwMode="gray">
          <a:xfrm>
            <a:off x="5943600" y="725904"/>
            <a:ext cx="365760" cy="365760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00589F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0" tIns="45711" rIns="91420" bIns="45711" rtlCol="0" anchor="ctr"/>
          <a:lstStyle/>
          <a:p>
            <a:pPr algn="ctr" rtl="0"/>
            <a:r>
              <a:rPr lang="ru-RU" sz="1200" b="0" i="0" u="none" baseline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x</a:t>
            </a:r>
            <a:endParaRPr lang="ru" sz="12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43" name="Title 1"/>
          <p:cNvSpPr txBox="1">
            <a:spLocks/>
          </p:cNvSpPr>
          <p:nvPr/>
        </p:nvSpPr>
        <p:spPr bwMode="gray">
          <a:xfrm>
            <a:off x="6424426" y="813344"/>
            <a:ext cx="264337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9298" algn="l"/>
              </a:tabLst>
              <a:defRPr sz="1900" b="1">
                <a:solidFill>
                  <a:schemeClr val="accent5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 defTabSz="914206" rtl="0"/>
            <a:r>
              <a:rPr lang="ru-RU" sz="1200" b="1" i="0" u="none" baseline="0" dirty="0">
                <a:solidFill>
                  <a:schemeClr val="tx1"/>
                </a:solidFill>
                <a:latin typeface="Arial"/>
                <a:ea typeface="+mn-ea"/>
                <a:cs typeface="Arial"/>
              </a:rPr>
              <a:t>Количество недель до установки</a:t>
            </a:r>
            <a:endParaRPr lang="ru" sz="1200" dirty="0">
              <a:solidFill>
                <a:schemeClr val="tx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47" name="Rectangle 9"/>
          <p:cNvSpPr txBox="1"/>
          <p:nvPr/>
        </p:nvSpPr>
        <p:spPr bwMode="gray">
          <a:xfrm>
            <a:off x="347197" y="4724400"/>
            <a:ext cx="3158003" cy="846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marL="285750" indent="-285750" algn="l" rtl="0">
              <a:buClrTx/>
              <a:buSzPct val="100000"/>
              <a:buFont typeface="Arial"/>
              <a:buChar char="•"/>
            </a:pPr>
            <a:r>
              <a:rPr lang="ru-RU" sz="1100" b="0" i="0" u="none" baseline="0" dirty="0"/>
              <a:t>Группа по управлению проектом (PMT) связывается с поставщиком и проверяет список медицинских учреждений (HF) для установки ОХЦ (при содействии отдела поставок (SD) ЮНИСЕФ)</a:t>
            </a:r>
          </a:p>
        </p:txBody>
      </p:sp>
      <p:sp>
        <p:nvSpPr>
          <p:cNvPr id="48" name="Rectangle 47"/>
          <p:cNvSpPr/>
          <p:nvPr/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 rtl="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ru" dirty="0" smtClean="0"/>
          </a:p>
        </p:txBody>
      </p:sp>
      <p:sp>
        <p:nvSpPr>
          <p:cNvPr id="49" name="Title 1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56182" y="106680"/>
            <a:ext cx="848781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defTabSz="911521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</a:tabLst>
            </a:pPr>
            <a:r>
              <a:rPr lang="ru-RU" sz="1400" b="1" i="0" u="none" baseline="0" dirty="0">
                <a:solidFill>
                  <a:srgbClr val="FFFFFF"/>
                </a:solidFill>
                <a:latin typeface="Arial Narrow"/>
                <a:cs typeface="Arial Narrow"/>
              </a:rPr>
              <a:t>Для обеспечения эффективной установки ОХЦ следует предпринять ряд проактивных шагов </a:t>
            </a:r>
            <a:endParaRPr lang="ru" sz="1400" b="1" dirty="0">
              <a:solidFill>
                <a:schemeClr val="bg1"/>
              </a:solidFill>
              <a:latin typeface="Arial Narrow"/>
              <a:cs typeface="Arial Narrow"/>
            </a:endParaRPr>
          </a:p>
        </p:txBody>
      </p:sp>
      <p:pic>
        <p:nvPicPr>
          <p:cNvPr id="50" name="Picture 49"/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214364"/>
            <a:ext cx="9144000" cy="81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48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ject 5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0753880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92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200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3"/>
          <p:cNvSpPr/>
          <p:nvPr/>
        </p:nvSpPr>
        <p:spPr bwMode="gray">
          <a:xfrm flipH="1">
            <a:off x="203200" y="1861195"/>
            <a:ext cx="8610600" cy="0"/>
          </a:xfrm>
          <a:custGeom>
            <a:avLst/>
            <a:gdLst>
              <a:gd name="connsiteX0" fmla="*/ 0 w 8610600"/>
              <a:gd name="connsiteY0" fmla="*/ 0 h 0"/>
              <a:gd name="connsiteX1" fmla="*/ 8610600 w 86106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610600">
                <a:moveTo>
                  <a:pt x="0" y="0"/>
                </a:moveTo>
                <a:lnTo>
                  <a:pt x="8610600" y="0"/>
                </a:lnTo>
              </a:path>
            </a:pathLst>
          </a:custGeom>
          <a:ln w="76200">
            <a:solidFill>
              <a:srgbClr val="00589F"/>
            </a:solidFill>
            <a:headEnd type="triangle" w="lg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chemeClr val="tx1"/>
              </a:buClr>
            </a:pPr>
            <a:endParaRPr lang="ru" sz="1300" kern="1200" dirty="0">
              <a:solidFill>
                <a:schemeClr val="tx1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7" name="Oval 6"/>
          <p:cNvSpPr>
            <a:spLocks noChangeAspect="1"/>
          </p:cNvSpPr>
          <p:nvPr/>
        </p:nvSpPr>
        <p:spPr bwMode="gray">
          <a:xfrm>
            <a:off x="1244466" y="1717197"/>
            <a:ext cx="288000" cy="288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chemeClr val="tx1"/>
              </a:buClr>
            </a:pPr>
            <a:r>
              <a:rPr lang="ru-RU" sz="1300" b="0" i="0" u="none" baseline="0">
                <a:solidFill>
                  <a:schemeClr val="tx1"/>
                </a:solidFill>
                <a:latin typeface="Arial"/>
                <a:ea typeface="ＭＳ Ｐゴシック"/>
                <a:cs typeface="Arial"/>
              </a:rPr>
              <a:t> </a:t>
            </a:r>
            <a:endParaRPr lang="ru" sz="1300" b="1" dirty="0">
              <a:solidFill>
                <a:schemeClr val="tx1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34" name="Oval 33"/>
          <p:cNvSpPr>
            <a:spLocks noChangeAspect="1"/>
          </p:cNvSpPr>
          <p:nvPr/>
        </p:nvSpPr>
        <p:spPr bwMode="gray">
          <a:xfrm>
            <a:off x="5389911" y="1717197"/>
            <a:ext cx="288000" cy="288000"/>
          </a:xfrm>
          <a:prstGeom prst="ellipse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chemeClr val="tx1"/>
              </a:buClr>
            </a:pPr>
            <a:r>
              <a:rPr lang="ru-RU" sz="1300" b="0" i="0" u="none" baseline="0">
                <a:solidFill>
                  <a:schemeClr val="tx1"/>
                </a:solidFill>
                <a:latin typeface="Arial"/>
                <a:ea typeface="ＭＳ Ｐゴシック"/>
                <a:cs typeface="Arial"/>
              </a:rPr>
              <a:t> </a:t>
            </a:r>
            <a:endParaRPr lang="ru" sz="1300" b="1" dirty="0">
              <a:solidFill>
                <a:schemeClr val="tx1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11" name="Freeform 10"/>
          <p:cNvSpPr/>
          <p:nvPr/>
        </p:nvSpPr>
        <p:spPr bwMode="gray">
          <a:xfrm>
            <a:off x="1388467" y="2005197"/>
            <a:ext cx="45719" cy="370999"/>
          </a:xfrm>
          <a:custGeom>
            <a:avLst/>
            <a:gdLst>
              <a:gd name="connsiteX0" fmla="*/ 0 w 0"/>
              <a:gd name="connsiteY0" fmla="*/ 0 h 609600"/>
              <a:gd name="connsiteX1" fmla="*/ 0 w 0"/>
              <a:gd name="connsiteY1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09600">
                <a:moveTo>
                  <a:pt x="0" y="0"/>
                </a:moveTo>
                <a:lnTo>
                  <a:pt x="0" y="609600"/>
                </a:lnTo>
              </a:path>
            </a:pathLst>
          </a:cu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chemeClr val="tx1"/>
              </a:buClr>
            </a:pPr>
            <a:endParaRPr lang="ru" sz="1300" kern="1200" dirty="0">
              <a:solidFill>
                <a:schemeClr val="tx1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49" name="Freeform 48"/>
          <p:cNvSpPr/>
          <p:nvPr/>
        </p:nvSpPr>
        <p:spPr bwMode="gray">
          <a:xfrm>
            <a:off x="5542309" y="2005197"/>
            <a:ext cx="45719" cy="370999"/>
          </a:xfrm>
          <a:custGeom>
            <a:avLst/>
            <a:gdLst>
              <a:gd name="connsiteX0" fmla="*/ 0 w 0"/>
              <a:gd name="connsiteY0" fmla="*/ 0 h 609600"/>
              <a:gd name="connsiteX1" fmla="*/ 0 w 0"/>
              <a:gd name="connsiteY1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609600">
                <a:moveTo>
                  <a:pt x="0" y="0"/>
                </a:moveTo>
                <a:lnTo>
                  <a:pt x="0" y="609600"/>
                </a:lnTo>
              </a:path>
            </a:pathLst>
          </a:cu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chemeClr val="tx1"/>
              </a:buClr>
            </a:pPr>
            <a:endParaRPr lang="ru" sz="1300" kern="1200" dirty="0">
              <a:solidFill>
                <a:schemeClr val="tx1"/>
              </a:solidFill>
              <a:latin typeface="Arial"/>
              <a:ea typeface="ＭＳ Ｐゴシック"/>
              <a:cs typeface="Arial"/>
            </a:endParaRPr>
          </a:p>
        </p:txBody>
      </p:sp>
      <p:pic>
        <p:nvPicPr>
          <p:cNvPr id="50" name="Picture 5" descr="C:\Users\Uche.Solina\Desktop\RI\Kano VSCM\Updates\New folder\27022014 warawa jemagu\IMG_20140227_120635.jpg"/>
          <p:cNvPicPr preferRelativeResize="0">
            <a:picLocks noChangeArrowheads="1"/>
          </p:cNvPicPr>
          <p:nvPr/>
        </p:nvPicPr>
        <p:blipFill>
          <a:blip r:embed="rId8" cstate="print"/>
          <a:srcRect l="45045"/>
          <a:stretch>
            <a:fillRect/>
          </a:stretch>
        </p:blipFill>
        <p:spPr bwMode="gray">
          <a:xfrm>
            <a:off x="237466" y="4698601"/>
            <a:ext cx="1532068" cy="1828746"/>
          </a:xfrm>
          <a:prstGeom prst="rect">
            <a:avLst/>
          </a:prstGeom>
          <a:ln w="19050" cmpd="sng">
            <a:solidFill>
              <a:srgbClr val="00589F"/>
            </a:solidFill>
          </a:ln>
          <a:effectLst/>
        </p:spPr>
      </p:pic>
      <p:sp>
        <p:nvSpPr>
          <p:cNvPr id="8" name="Rectangle 7"/>
          <p:cNvSpPr/>
          <p:nvPr/>
        </p:nvSpPr>
        <p:spPr bwMode="gray">
          <a:xfrm>
            <a:off x="242992" y="2122025"/>
            <a:ext cx="4252807" cy="2353733"/>
          </a:xfrm>
          <a:prstGeom prst="rect">
            <a:avLst/>
          </a:prstGeom>
          <a:solidFill>
            <a:schemeClr val="bg1"/>
          </a:solidFill>
          <a:ln w="19050">
            <a:solidFill>
              <a:srgbClr val="00589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chemeClr val="tx1"/>
              </a:buClr>
            </a:pPr>
            <a:endParaRPr lang="ru" sz="1300" dirty="0">
              <a:solidFill>
                <a:schemeClr val="tx1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9" name="Rectangle 9"/>
          <p:cNvSpPr txBox="1"/>
          <p:nvPr/>
        </p:nvSpPr>
        <p:spPr bwMode="gray">
          <a:xfrm>
            <a:off x="381000" y="2209800"/>
            <a:ext cx="4051967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lvl="1" algn="l" rtl="0">
              <a:buClr>
                <a:schemeClr val="tx1"/>
              </a:buClr>
              <a:buSzPct val="100000"/>
            </a:pPr>
            <a:r>
              <a:rPr lang="ru-RU" sz="1200" b="0" i="0" u="none" baseline="0" dirty="0">
                <a:latin typeface="Arial"/>
                <a:ea typeface="ＭＳ Ｐゴシック"/>
                <a:cs typeface="Arial"/>
              </a:rPr>
              <a:t>Установка должна выполняться в соответствии со </a:t>
            </a:r>
            <a:r>
              <a:rPr lang="ru-RU" sz="1200" b="1" i="0" u="none" baseline="0" dirty="0">
                <a:latin typeface="Arial"/>
                <a:ea typeface="ＭＳ Ｐゴシック"/>
                <a:cs typeface="Arial"/>
              </a:rPr>
              <a:t>стандартной операционной процедурой (СОП)</a:t>
            </a:r>
          </a:p>
          <a:p>
            <a:pPr lvl="1" algn="l" rtl="0">
              <a:buClr>
                <a:schemeClr val="tx1"/>
              </a:buClr>
              <a:buSzPct val="100000"/>
            </a:pPr>
            <a:r>
              <a:rPr lang="ru-RU" sz="1200" b="0" i="0" u="none" baseline="0" dirty="0">
                <a:latin typeface="Arial"/>
                <a:ea typeface="ＭＳ Ｐゴシック"/>
                <a:cs typeface="Arial"/>
              </a:rPr>
              <a:t>Специалисты по установке должны провести во время установки базовый обучающий курс по профилактическому обслуживанию для пользователей</a:t>
            </a:r>
            <a:endParaRPr lang="ru" sz="1200" dirty="0">
              <a:latin typeface="Arial"/>
              <a:ea typeface="ＭＳ Ｐゴシック"/>
              <a:cs typeface="Arial"/>
            </a:endParaRPr>
          </a:p>
          <a:p>
            <a:pPr lvl="1" algn="l" rtl="0">
              <a:buClr>
                <a:schemeClr val="tx1"/>
              </a:buClr>
              <a:buSzPct val="100000"/>
            </a:pPr>
            <a:r>
              <a:rPr lang="ru-RU" sz="1200" b="0" i="0" u="none" baseline="0" dirty="0">
                <a:latin typeface="Arial"/>
                <a:ea typeface="ＭＳ Ｐゴシック"/>
                <a:cs typeface="Arial"/>
              </a:rPr>
              <a:t>Назначенные представители Министерства здравоохранения должны </a:t>
            </a:r>
            <a:r>
              <a:rPr lang="ru-RU" sz="1200" b="1" i="0" u="none" baseline="0" dirty="0">
                <a:latin typeface="Arial"/>
                <a:ea typeface="ＭＳ Ｐゴシック"/>
                <a:cs typeface="Arial"/>
              </a:rPr>
              <a:t>контролировать и регистрировать</a:t>
            </a:r>
            <a:r>
              <a:rPr lang="ru-RU" sz="1200" b="0" i="0" u="none" baseline="0" dirty="0">
                <a:latin typeface="Arial"/>
                <a:ea typeface="ＭＳ Ｐゴシック"/>
                <a:cs typeface="Arial"/>
              </a:rPr>
              <a:t> все мероприятия по установке, подписание документа о подтверждении доставки со стороны учреждения, потенциальные координаты GPS учреждений и фотографии установки ОХЦ</a:t>
            </a:r>
          </a:p>
        </p:txBody>
      </p:sp>
      <p:sp>
        <p:nvSpPr>
          <p:cNvPr id="32" name="Rectangle 31"/>
          <p:cNvSpPr/>
          <p:nvPr/>
        </p:nvSpPr>
        <p:spPr bwMode="gray">
          <a:xfrm>
            <a:off x="4673600" y="2118122"/>
            <a:ext cx="3937000" cy="3673078"/>
          </a:xfrm>
          <a:prstGeom prst="rect">
            <a:avLst/>
          </a:prstGeom>
          <a:solidFill>
            <a:schemeClr val="bg1"/>
          </a:solidFill>
          <a:ln w="19050">
            <a:solidFill>
              <a:srgbClr val="00589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rtl="0">
              <a:buClr>
                <a:schemeClr val="tx1"/>
              </a:buClr>
            </a:pPr>
            <a:endParaRPr lang="ru" sz="1300" dirty="0">
              <a:solidFill>
                <a:schemeClr val="tx1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48" name="Rectangle 9"/>
          <p:cNvSpPr txBox="1"/>
          <p:nvPr/>
        </p:nvSpPr>
        <p:spPr bwMode="gray">
          <a:xfrm>
            <a:off x="4800600" y="2348355"/>
            <a:ext cx="3720432" cy="332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lvl="1" algn="l" rtl="0">
              <a:buClr>
                <a:schemeClr val="tx1"/>
              </a:buClr>
              <a:buSzPct val="100000"/>
            </a:pPr>
            <a:r>
              <a:rPr lang="ru-RU" sz="1200" b="0" i="0" u="none" baseline="0" dirty="0">
                <a:latin typeface="Arial"/>
                <a:ea typeface="ＭＳ Ｐゴシック"/>
                <a:cs typeface="Arial"/>
              </a:rPr>
              <a:t>Независимые специалисты по мониторингу должны проверить функциональность ОХЦ в течение </a:t>
            </a:r>
            <a:r>
              <a:rPr lang="ru-RU" sz="1200" b="1" i="0" u="none" baseline="0" dirty="0">
                <a:latin typeface="Arial"/>
                <a:ea typeface="ＭＳ Ｐゴシック"/>
                <a:cs typeface="Arial"/>
              </a:rPr>
              <a:t>72 часов после</a:t>
            </a:r>
            <a:r>
              <a:rPr lang="ru-RU" sz="1200" b="0" i="0" u="none" baseline="0" dirty="0">
                <a:latin typeface="Arial"/>
                <a:ea typeface="ＭＳ Ｐゴシック"/>
                <a:cs typeface="Arial"/>
              </a:rPr>
              <a:t> установки, обеспечить решение всех возникших проблем и наличие на объекте следующего:</a:t>
            </a:r>
          </a:p>
          <a:p>
            <a:pPr lvl="2" algn="l" rtl="0">
              <a:buClr>
                <a:schemeClr val="tx1"/>
              </a:buClr>
            </a:pPr>
            <a:r>
              <a:rPr lang="ru-RU" sz="1200" b="0" i="0" u="none" baseline="0" dirty="0">
                <a:latin typeface="Arial"/>
                <a:ea typeface="ＭＳ Ｐゴシック"/>
                <a:cs typeface="Arial"/>
              </a:rPr>
              <a:t>Руководства по эксплуатации оборудования</a:t>
            </a:r>
          </a:p>
          <a:p>
            <a:pPr lvl="2" algn="l" rtl="0">
              <a:buClr>
                <a:schemeClr val="tx1"/>
              </a:buClr>
            </a:pPr>
            <a:r>
              <a:rPr lang="ru-RU" sz="1200" b="0" i="0" u="none" baseline="0" dirty="0">
                <a:latin typeface="Arial"/>
                <a:ea typeface="ＭＳ Ｐゴシック"/>
                <a:cs typeface="Arial"/>
              </a:rPr>
              <a:t>Руководства по установке оборудования</a:t>
            </a:r>
          </a:p>
          <a:p>
            <a:pPr lvl="2" algn="l" rtl="0">
              <a:buClr>
                <a:schemeClr val="tx1"/>
              </a:buClr>
            </a:pPr>
            <a:r>
              <a:rPr lang="ru-RU" sz="1200" b="0" i="0" u="none" baseline="0" dirty="0">
                <a:latin typeface="Arial"/>
                <a:ea typeface="ＭＳ Ｐゴシック"/>
                <a:cs typeface="Arial"/>
              </a:rPr>
              <a:t>Руководства по обучению обслуживанию оборудования</a:t>
            </a:r>
          </a:p>
          <a:p>
            <a:pPr lvl="2" algn="l" rtl="0">
              <a:buClr>
                <a:schemeClr val="tx1"/>
              </a:buClr>
            </a:pPr>
            <a:r>
              <a:rPr lang="ru-RU" sz="1200" b="0" i="0" u="none" baseline="0" dirty="0">
                <a:latin typeface="Arial"/>
                <a:ea typeface="ＭＳ Ｐゴシック"/>
                <a:cs typeface="Arial"/>
              </a:rPr>
              <a:t>Принадлежностей, таких как корзины и замки</a:t>
            </a:r>
            <a:endParaRPr lang="ru" sz="1200" dirty="0">
              <a:latin typeface="Arial"/>
              <a:ea typeface="ＭＳ Ｐゴシック"/>
              <a:cs typeface="Arial"/>
            </a:endParaRPr>
          </a:p>
          <a:p>
            <a:pPr lvl="1" algn="l" rtl="0">
              <a:buClr>
                <a:schemeClr val="tx1"/>
              </a:buClr>
              <a:buSzPct val="100000"/>
            </a:pPr>
            <a:r>
              <a:rPr lang="ru-RU" sz="1200" b="0" i="0" u="none" baseline="0" dirty="0">
                <a:latin typeface="Arial"/>
                <a:ea typeface="ＭＳ Ｐゴシック"/>
                <a:cs typeface="Arial"/>
              </a:rPr>
              <a:t>После установки необходимо осуществить ряд визитов на выбранные учреждения с целью </a:t>
            </a:r>
            <a:r>
              <a:rPr lang="ru-RU" sz="1200" b="1" i="0" u="none" baseline="0" dirty="0">
                <a:latin typeface="Arial"/>
                <a:ea typeface="ＭＳ Ｐゴシック"/>
                <a:cs typeface="Arial"/>
              </a:rPr>
              <a:t>мониторинга ввода в эксплуатацию</a:t>
            </a:r>
            <a:r>
              <a:rPr lang="ru-RU" sz="1200" b="0" i="0" u="none" baseline="0" dirty="0">
                <a:latin typeface="Arial"/>
                <a:ea typeface="ＭＳ Ｐゴシック"/>
                <a:cs typeface="Arial"/>
              </a:rPr>
              <a:t> и оказания поддержки при возникновении проблем</a:t>
            </a:r>
          </a:p>
          <a:p>
            <a:pPr lvl="1" algn="l" rtl="0">
              <a:buClr>
                <a:schemeClr val="tx1"/>
              </a:buClr>
              <a:buSzPct val="100000"/>
            </a:pPr>
            <a:r>
              <a:rPr lang="ru-RU" sz="1200" b="0" i="0" u="none" baseline="0" dirty="0">
                <a:latin typeface="Arial"/>
                <a:ea typeface="ＭＳ Ｐゴシック"/>
                <a:cs typeface="Arial"/>
              </a:rPr>
              <a:t>Во время визита заполняется проверочный лист действий после установки</a:t>
            </a:r>
            <a:endParaRPr lang="ru" sz="1200" dirty="0">
              <a:latin typeface="Arial"/>
              <a:ea typeface="ＭＳ Ｐゴシック"/>
              <a:cs typeface="Arial"/>
            </a:endParaRPr>
          </a:p>
          <a:p>
            <a:pPr lvl="1" algn="l" rtl="0">
              <a:buClr>
                <a:schemeClr val="tx1"/>
              </a:buClr>
              <a:buSzPct val="100000"/>
            </a:pPr>
            <a:r>
              <a:rPr lang="ru-RU" sz="1200" b="0" i="0" u="none" baseline="0" dirty="0">
                <a:latin typeface="Arial"/>
                <a:ea typeface="ＭＳ Ｐゴシック"/>
                <a:cs typeface="Arial"/>
              </a:rPr>
              <a:t>Также допускается проведение более долгосрочной проверки температур ОХЦ</a:t>
            </a:r>
          </a:p>
        </p:txBody>
      </p:sp>
      <p:sp>
        <p:nvSpPr>
          <p:cNvPr id="51" name="Rectangle 5"/>
          <p:cNvSpPr txBox="1"/>
          <p:nvPr/>
        </p:nvSpPr>
        <p:spPr bwMode="gray">
          <a:xfrm>
            <a:off x="5867400" y="1145806"/>
            <a:ext cx="200806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/>
            </a:lvl1pPr>
            <a:lvl2pPr marL="197607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/>
            </a:lvl2pPr>
            <a:lvl3pPr marL="466481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/>
            </a:lvl3pPr>
            <a:lvl4pPr marL="626835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/>
            </a:lvl4pPr>
            <a:lvl5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/>
            </a:lvl9pPr>
          </a:lstStyle>
          <a:p>
            <a:pPr algn="l" rtl="0">
              <a:buClr>
                <a:schemeClr val="tx1"/>
              </a:buClr>
            </a:pPr>
            <a:r>
              <a:rPr lang="ru-RU" sz="1200" b="1" i="0" u="none" baseline="0">
                <a:latin typeface="Arial"/>
                <a:ea typeface="ＭＳ Ｐゴシック"/>
                <a:cs typeface="Arial"/>
              </a:rPr>
              <a:t>НЕПОСРЕДСТВЕННО </a:t>
            </a:r>
            <a:r>
              <a:rPr lang="ru-RU" sz="1200" b="1">
                <a:latin typeface="Arial"/>
                <a:ea typeface="ＭＳ Ｐゴシック"/>
                <a:cs typeface="Arial"/>
              </a:rPr>
              <a:t/>
            </a:r>
            <a:br>
              <a:rPr lang="ru-RU" sz="1200" b="1">
                <a:latin typeface="Arial"/>
                <a:ea typeface="ＭＳ Ｐゴシック"/>
                <a:cs typeface="Arial"/>
              </a:rPr>
            </a:br>
            <a:r>
              <a:rPr lang="ru-RU" sz="1200" b="1" i="0" u="none" baseline="0">
                <a:latin typeface="Arial"/>
                <a:ea typeface="ＭＳ Ｐゴシック"/>
                <a:cs typeface="Arial"/>
              </a:rPr>
              <a:t>ПОСЛЕ УСТАНОВКИ</a:t>
            </a:r>
            <a:endParaRPr lang="ru" sz="1200" b="1" dirty="0">
              <a:latin typeface="Arial"/>
              <a:ea typeface="ＭＳ Ｐゴシック"/>
              <a:cs typeface="Arial"/>
            </a:endParaRPr>
          </a:p>
        </p:txBody>
      </p:sp>
      <p:sp>
        <p:nvSpPr>
          <p:cNvPr id="24" name="Rectangular Callout 23"/>
          <p:cNvSpPr/>
          <p:nvPr>
            <p:custDataLst>
              <p:tags r:id="rId3"/>
            </p:custDataLst>
          </p:nvPr>
        </p:nvSpPr>
        <p:spPr bwMode="auto">
          <a:xfrm>
            <a:off x="1950248" y="4800600"/>
            <a:ext cx="2196000" cy="1296000"/>
          </a:xfrm>
          <a:prstGeom prst="wedgeRectCallout">
            <a:avLst>
              <a:gd name="adj1" fmla="val -26189"/>
              <a:gd name="adj2" fmla="val -68093"/>
            </a:avLst>
          </a:prstGeom>
          <a:solidFill>
            <a:srgbClr val="99C837"/>
          </a:solidFill>
          <a:ln w="9525">
            <a:noFill/>
            <a:prstDash val="dashDot"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95250" algn="l" defTabSz="787400" rtl="0">
              <a:buClr>
                <a:srgbClr val="204024"/>
              </a:buClr>
              <a:buSzPct val="125000"/>
            </a:pPr>
            <a:endParaRPr lang="ru" sz="1400" dirty="0" smtClean="0">
              <a:latin typeface="Arial"/>
              <a:cs typeface="Arial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044032" y="4876800"/>
            <a:ext cx="19945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0" algn="l" defTabSz="787400" rtl="0">
              <a:buClr>
                <a:srgbClr val="204024"/>
              </a:buClr>
              <a:buSzPct val="125000"/>
            </a:pPr>
            <a:r>
              <a:rPr lang="ru-RU" sz="1200" b="1" i="1" u="none" baseline="0" dirty="0">
                <a:cs typeface="Arial"/>
              </a:rPr>
              <a:t>Специалисты по установке</a:t>
            </a:r>
            <a:r>
              <a:rPr lang="ru-RU" sz="1200" b="0" i="0" u="none" baseline="0" dirty="0">
                <a:cs typeface="Arial"/>
              </a:rPr>
              <a:t> будут наняты по контракту Отделом поставок (SD) ЮНИСЕФ (совместно с производителем)</a:t>
            </a:r>
          </a:p>
        </p:txBody>
      </p:sp>
      <p:sp>
        <p:nvSpPr>
          <p:cNvPr id="27" name="Rectangle 26"/>
          <p:cNvSpPr/>
          <p:nvPr/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 rtl="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ru" dirty="0" smtClean="0"/>
          </a:p>
        </p:txBody>
      </p:sp>
      <p:sp>
        <p:nvSpPr>
          <p:cNvPr id="28" name="Title 1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56182" y="106680"/>
            <a:ext cx="848781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defTabSz="911135" rtl="0" fontAlgn="base">
              <a:spcBef>
                <a:spcPct val="0"/>
              </a:spcBef>
              <a:spcAft>
                <a:spcPct val="0"/>
              </a:spcAft>
              <a:tabLst>
                <a:tab pos="368907" algn="l"/>
              </a:tabLst>
              <a:defRPr/>
            </a:pPr>
            <a:r>
              <a:rPr lang="ru-RU" sz="1400" b="1" i="0" u="none" baseline="0" dirty="0">
                <a:solidFill>
                  <a:srgbClr val="FFFFFF"/>
                </a:solidFill>
                <a:latin typeface="Arial Narrow"/>
                <a:cs typeface="Arial Narrow"/>
              </a:rPr>
              <a:t>Тщательный мониторинг во время установки и непосредственно после нее имеет решающее значение 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95799" y="668803"/>
            <a:ext cx="1265969" cy="102559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55657" y="992603"/>
            <a:ext cx="1553618" cy="678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244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4564037"/>
              </p:ext>
            </p:ext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086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Picture 2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/>
          <p:cNvSpPr>
            <a:spLocks/>
          </p:cNvSpPr>
          <p:nvPr/>
        </p:nvSpPr>
        <p:spPr>
          <a:xfrm>
            <a:off x="579120" y="1600200"/>
            <a:ext cx="7955280" cy="4343400"/>
          </a:xfrm>
          <a:prstGeom prst="rect">
            <a:avLst/>
          </a:prstGeom>
          <a:noFill/>
          <a:ln w="19050" cmpd="sng">
            <a:solidFill>
              <a:srgbClr val="00589F"/>
            </a:solidFill>
            <a:headEnd/>
            <a:tailEnd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93276" tIns="46638" rIns="93276" bIns="46638" anchor="ctr">
            <a:noAutofit/>
          </a:bodyPr>
          <a:lstStyle/>
          <a:p>
            <a:pPr algn="l" rtl="0"/>
            <a:endParaRPr lang="ru" sz="1400" kern="1200" dirty="0" err="1">
              <a:solidFill>
                <a:srgbClr val="FFFFFF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29" name="Rectangle 8"/>
          <p:cNvSpPr txBox="1"/>
          <p:nvPr>
            <p:custDataLst>
              <p:tags r:id="rId3"/>
            </p:custDataLst>
          </p:nvPr>
        </p:nvSpPr>
        <p:spPr>
          <a:xfrm>
            <a:off x="1752600" y="2078021"/>
            <a:ext cx="614816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l" rtl="0">
              <a:buClr>
                <a:srgbClr val="339966"/>
              </a:buClr>
            </a:pPr>
            <a:r>
              <a:rPr lang="ru-RU" sz="1400" b="0" i="0" u="none" baseline="0">
                <a:solidFill>
                  <a:srgbClr val="1F1F1F"/>
                </a:solidFill>
                <a:latin typeface="Arial"/>
                <a:ea typeface="ＭＳ Ｐゴシック"/>
              </a:rPr>
              <a:t>Сотрудники медицинского учреждения проверяют установленное ОХЦ в течение 72 часов после установки и сигнализируют о проблемах группе по управлению проектом (PMT) </a:t>
            </a:r>
            <a:r>
              <a:rPr lang="ru-RU" sz="1400" b="0" i="0" u="none" baseline="0">
                <a:latin typeface="Arial"/>
                <a:ea typeface="ＭＳ Ｐゴシック"/>
              </a:rPr>
              <a:t>(ввод в эксплуатацию производителем)</a:t>
            </a:r>
            <a:endParaRPr lang="ru" sz="1400" dirty="0">
              <a:latin typeface="Arial"/>
              <a:ea typeface="ＭＳ Ｐゴシック"/>
            </a:endParaRPr>
          </a:p>
        </p:txBody>
      </p:sp>
      <p:sp>
        <p:nvSpPr>
          <p:cNvPr id="30" name="Rectangle 8"/>
          <p:cNvSpPr txBox="1"/>
          <p:nvPr>
            <p:custDataLst>
              <p:tags r:id="rId4"/>
            </p:custDataLst>
          </p:nvPr>
        </p:nvSpPr>
        <p:spPr>
          <a:xfrm>
            <a:off x="1752600" y="2984956"/>
            <a:ext cx="614816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l" rtl="0">
              <a:buClr>
                <a:srgbClr val="339966"/>
              </a:buClr>
            </a:pPr>
            <a:r>
              <a:rPr lang="ru-RU" sz="1400" b="0" i="0" u="none" baseline="0">
                <a:solidFill>
                  <a:srgbClr val="1F1F1F"/>
                </a:solidFill>
                <a:ea typeface="ＭＳ Ｐゴシック"/>
              </a:rPr>
              <a:t>Принятие всех надлежащих мер для обеспечения безопасности неустановленных холодильников </a:t>
            </a:r>
            <a:endParaRPr lang="ru" sz="1400" dirty="0">
              <a:solidFill>
                <a:srgbClr val="FF0000"/>
              </a:solidFill>
              <a:latin typeface="Arial"/>
              <a:ea typeface="ＭＳ Ｐゴシック"/>
            </a:endParaRPr>
          </a:p>
        </p:txBody>
      </p:sp>
      <p:sp>
        <p:nvSpPr>
          <p:cNvPr id="31" name="Rectangle 8"/>
          <p:cNvSpPr txBox="1"/>
          <p:nvPr>
            <p:custDataLst>
              <p:tags r:id="rId5"/>
            </p:custDataLst>
          </p:nvPr>
        </p:nvSpPr>
        <p:spPr>
          <a:xfrm>
            <a:off x="1752600" y="3657600"/>
            <a:ext cx="614816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l" rtl="0">
              <a:buClr>
                <a:srgbClr val="339966"/>
              </a:buClr>
            </a:pPr>
            <a:r>
              <a:rPr lang="ru-RU" sz="1400" b="0" i="0" u="none" baseline="0">
                <a:latin typeface="Arial"/>
                <a:ea typeface="ＭＳ Ｐゴシック"/>
              </a:rPr>
              <a:t>Проверка наличия стратегии безопасности для охраны установленного ОХЦ на объектах</a:t>
            </a:r>
            <a:endParaRPr lang="ru" sz="1400" dirty="0">
              <a:latin typeface="Arial"/>
              <a:ea typeface="ＭＳ Ｐゴシック"/>
            </a:endParaRPr>
          </a:p>
        </p:txBody>
      </p:sp>
      <p:sp>
        <p:nvSpPr>
          <p:cNvPr id="32" name="Rectangle 8"/>
          <p:cNvSpPr txBox="1"/>
          <p:nvPr>
            <p:custDataLst>
              <p:tags r:id="rId6"/>
            </p:custDataLst>
          </p:nvPr>
        </p:nvSpPr>
        <p:spPr>
          <a:xfrm>
            <a:off x="1752600" y="5029200"/>
            <a:ext cx="614816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l" rtl="0">
              <a:buClr>
                <a:srgbClr val="339966"/>
              </a:buClr>
            </a:pPr>
            <a:r>
              <a:rPr lang="ru-RU" sz="1400" b="0" i="0" u="none" baseline="0">
                <a:solidFill>
                  <a:srgbClr val="1F1F1F"/>
                </a:solidFill>
                <a:latin typeface="Arial"/>
                <a:ea typeface="ＭＳ Ｐゴシック"/>
              </a:rPr>
              <a:t>Обеспечение фотографий учреждений, установленных солнечных батарей (SDD), подписанных документов, средств обеспечения безопасности и т. д. (</a:t>
            </a:r>
            <a:r>
              <a:rPr lang="ru-RU" sz="1400" b="0" i="0" u="none" baseline="0">
                <a:latin typeface="Arial"/>
                <a:ea typeface="ＭＳ Ｐゴシック"/>
              </a:rPr>
              <a:t>входит в сферу ответственности производителя)</a:t>
            </a:r>
            <a:endParaRPr lang="ru" sz="1400" dirty="0">
              <a:latin typeface="Arial"/>
              <a:ea typeface="ＭＳ Ｐゴシック"/>
            </a:endParaRPr>
          </a:p>
        </p:txBody>
      </p:sp>
      <p:sp>
        <p:nvSpPr>
          <p:cNvPr id="33" name="Rectangle 8"/>
          <p:cNvSpPr txBox="1"/>
          <p:nvPr>
            <p:custDataLst>
              <p:tags r:id="rId7"/>
            </p:custDataLst>
          </p:nvPr>
        </p:nvSpPr>
        <p:spPr>
          <a:xfrm>
            <a:off x="1752600" y="4432756"/>
            <a:ext cx="65532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l" rtl="0">
              <a:buClr>
                <a:srgbClr val="339966"/>
              </a:buClr>
            </a:pPr>
            <a:r>
              <a:rPr lang="ru-RU" sz="1400" b="0" i="0" u="none" baseline="0" dirty="0">
                <a:solidFill>
                  <a:srgbClr val="1F1F1F"/>
                </a:solidFill>
                <a:latin typeface="Arial"/>
                <a:ea typeface="ＭＳ Ｐゴシック"/>
              </a:rPr>
              <a:t>Еженедельная </a:t>
            </a:r>
            <a:r>
              <a:rPr lang="ru-RU" sz="1400" b="0" i="0" u="none" baseline="0" dirty="0">
                <a:latin typeface="Arial"/>
                <a:ea typeface="ＭＳ Ｐゴシック"/>
              </a:rPr>
              <a:t>проверка</a:t>
            </a:r>
            <a:r>
              <a:rPr lang="ru-RU" sz="1400" b="0" i="0" u="none" baseline="0" dirty="0">
                <a:solidFill>
                  <a:srgbClr val="1F1F1F"/>
                </a:solidFill>
                <a:latin typeface="Arial"/>
                <a:ea typeface="ＭＳ Ｐゴシック"/>
              </a:rPr>
              <a:t> прогресса совместно с NLWG во время установки </a:t>
            </a:r>
            <a:endParaRPr lang="ru" sz="1400" dirty="0">
              <a:solidFill>
                <a:srgbClr val="1F1F1F"/>
              </a:solidFill>
              <a:latin typeface="Arial"/>
              <a:ea typeface="ＭＳ Ｐゴシック"/>
            </a:endParaRPr>
          </a:p>
        </p:txBody>
      </p:sp>
      <p:cxnSp>
        <p:nvCxnSpPr>
          <p:cNvPr id="34" name="Straight Connector 33"/>
          <p:cNvCxnSpPr/>
          <p:nvPr/>
        </p:nvCxnSpPr>
        <p:spPr>
          <a:xfrm flipH="1">
            <a:off x="1752600" y="2819400"/>
            <a:ext cx="6148169" cy="0"/>
          </a:xfrm>
          <a:prstGeom prst="line">
            <a:avLst/>
          </a:prstGeom>
          <a:ln w="6350" cmpd="sng">
            <a:solidFill>
              <a:srgbClr val="99C83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flipH="1">
            <a:off x="1752600" y="3505200"/>
            <a:ext cx="6148169" cy="0"/>
          </a:xfrm>
          <a:prstGeom prst="line">
            <a:avLst/>
          </a:prstGeom>
          <a:ln w="6350" cmpd="sng">
            <a:solidFill>
              <a:srgbClr val="99C83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flipH="1">
            <a:off x="1752600" y="4267200"/>
            <a:ext cx="6148169" cy="0"/>
          </a:xfrm>
          <a:prstGeom prst="line">
            <a:avLst/>
          </a:prstGeom>
          <a:ln w="6350" cmpd="sng">
            <a:solidFill>
              <a:srgbClr val="99C83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flipH="1">
            <a:off x="1752600" y="4823690"/>
            <a:ext cx="6148169" cy="0"/>
          </a:xfrm>
          <a:prstGeom prst="line">
            <a:avLst/>
          </a:prstGeom>
          <a:ln w="6350" cmpd="sng">
            <a:solidFill>
              <a:srgbClr val="99C83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6"/>
          <p:cNvSpPr txBox="1">
            <a:spLocks/>
          </p:cNvSpPr>
          <p:nvPr/>
        </p:nvSpPr>
        <p:spPr>
          <a:xfrm>
            <a:off x="1143000" y="2120058"/>
            <a:ext cx="355403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ru-RU" sz="1100" b="1" i="0" u="none" kern="1200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1</a:t>
            </a:r>
          </a:p>
        </p:txBody>
      </p:sp>
      <p:sp>
        <p:nvSpPr>
          <p:cNvPr id="41" name="Rectangle 6"/>
          <p:cNvSpPr txBox="1">
            <a:spLocks/>
          </p:cNvSpPr>
          <p:nvPr/>
        </p:nvSpPr>
        <p:spPr>
          <a:xfrm>
            <a:off x="1143000" y="2915686"/>
            <a:ext cx="355403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ru-RU" sz="1100" b="1" i="0" u="none" kern="1200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2</a:t>
            </a:r>
          </a:p>
        </p:txBody>
      </p:sp>
      <p:sp>
        <p:nvSpPr>
          <p:cNvPr id="42" name="Rectangle 6"/>
          <p:cNvSpPr txBox="1">
            <a:spLocks/>
          </p:cNvSpPr>
          <p:nvPr/>
        </p:nvSpPr>
        <p:spPr>
          <a:xfrm>
            <a:off x="1143000" y="3673764"/>
            <a:ext cx="355404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ru-RU" sz="1100" b="1" i="0" u="none" kern="1200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3</a:t>
            </a:r>
          </a:p>
        </p:txBody>
      </p:sp>
      <p:sp>
        <p:nvSpPr>
          <p:cNvPr id="43" name="Rectangle 6"/>
          <p:cNvSpPr txBox="1">
            <a:spLocks/>
          </p:cNvSpPr>
          <p:nvPr/>
        </p:nvSpPr>
        <p:spPr>
          <a:xfrm>
            <a:off x="1143000" y="4367873"/>
            <a:ext cx="355404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ru-RU" sz="1100" b="1" i="0" u="none" kern="1200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4</a:t>
            </a:r>
          </a:p>
        </p:txBody>
      </p:sp>
      <p:sp>
        <p:nvSpPr>
          <p:cNvPr id="49" name="Rectangle 6"/>
          <p:cNvSpPr txBox="1">
            <a:spLocks/>
          </p:cNvSpPr>
          <p:nvPr/>
        </p:nvSpPr>
        <p:spPr>
          <a:xfrm>
            <a:off x="1143000" y="5068228"/>
            <a:ext cx="355404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ru-RU" sz="1100" b="1" i="0" u="none" kern="1200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5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 rtl="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ru" dirty="0" smtClean="0"/>
          </a:p>
        </p:txBody>
      </p:sp>
      <p:sp>
        <p:nvSpPr>
          <p:cNvPr id="56" name="Title 1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656182" y="106680"/>
            <a:ext cx="848781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defTabSz="685800" rtl="0"/>
            <a:r>
              <a:rPr lang="ru-RU" sz="1400" b="1" i="0" u="none" baseline="0" dirty="0">
                <a:solidFill>
                  <a:schemeClr val="bg1"/>
                </a:solidFill>
                <a:latin typeface="Arial Narrow"/>
                <a:cs typeface="Arial Narrow"/>
              </a:rPr>
              <a:t>Проверочный лист и объекты отслеживания в целях мониторинга мероприятий по установке ОХЦ</a:t>
            </a:r>
          </a:p>
        </p:txBody>
      </p:sp>
      <p:pic>
        <p:nvPicPr>
          <p:cNvPr id="60" name="Picture 59"/>
          <p:cNvPicPr>
            <a:picLocks/>
          </p:cNvPicPr>
          <p:nvPr/>
        </p:nvPicPr>
        <p:blipFill>
          <a:blip r:embed="rId12"/>
          <a:stretch>
            <a:fillRect/>
          </a:stretch>
        </p:blipFill>
        <p:spPr>
          <a:xfrm>
            <a:off x="0" y="1177635"/>
            <a:ext cx="9144000" cy="81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927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/>
          </p:cNvGraphicFramePr>
          <p:nvPr/>
        </p:nvGraphicFramePr>
        <p:xfrm>
          <a:off x="158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4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70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tangle 69" hidden="1"/>
          <p:cNvSpPr/>
          <p:nvPr>
            <p:custDataLst>
              <p:tags r:id="rId2"/>
            </p:custDataLst>
          </p:nvPr>
        </p:nvSpPr>
        <p:spPr bwMode="auto">
          <a:xfrm>
            <a:off x="0" y="2"/>
            <a:ext cx="292388" cy="276999"/>
          </a:xfrm>
          <a:prstGeom prst="rect">
            <a:avLst/>
          </a:prstGeom>
          <a:solidFill>
            <a:scrgbClr r="0" g="0" b="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ctr" defTabSz="787234" rtl="0">
              <a:spcBef>
                <a:spcPct val="0"/>
              </a:spcBef>
              <a:spcAft>
                <a:spcPct val="0"/>
              </a:spcAft>
              <a:buClr>
                <a:srgbClr val="204024"/>
              </a:buClr>
              <a:buSzPct val="125000"/>
            </a:pPr>
            <a:endParaRPr lang="ru" sz="14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310676" y="685800"/>
            <a:ext cx="8546812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ru-RU" b="1" i="0" u="none" baseline="0">
                <a:solidFill>
                  <a:schemeClr val="tx1">
                    <a:lumMod val="75000"/>
                    <a:lumOff val="25000"/>
                  </a:schemeClr>
                </a:solidFill>
              </a:rPr>
              <a:t>Комплексная цель:</a:t>
            </a:r>
          </a:p>
          <a:p>
            <a:pPr algn="l" rtl="0"/>
            <a:r>
              <a:rPr lang="ru-RU" b="1" i="0" u="none" baseline="0">
                <a:solidFill>
                  <a:schemeClr val="tx1">
                    <a:lumMod val="75000"/>
                    <a:lumOff val="25000"/>
                  </a:schemeClr>
                </a:solidFill>
              </a:rPr>
              <a:t>Разработка плана оперативного развертывания</a:t>
            </a:r>
          </a:p>
        </p:txBody>
      </p:sp>
      <p:sp>
        <p:nvSpPr>
          <p:cNvPr id="57" name="Content Placeholder 1"/>
          <p:cNvSpPr txBox="1">
            <a:spLocks/>
          </p:cNvSpPr>
          <p:nvPr/>
        </p:nvSpPr>
        <p:spPr>
          <a:xfrm>
            <a:off x="1905000" y="4849531"/>
            <a:ext cx="7239000" cy="1184054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 algn="l" rtl="0">
              <a:buClrTx/>
              <a:buFont typeface="Courier New"/>
              <a:buChar char="o"/>
            </a:pPr>
            <a:r>
              <a:rPr lang="ru-RU" sz="1200" b="1" i="0" u="none" baseline="0" dirty="0">
                <a:latin typeface="Arial"/>
                <a:cs typeface="Arial"/>
              </a:rPr>
              <a:t>Отсрочки: </a:t>
            </a:r>
            <a:r>
              <a:rPr lang="ru-RU" sz="1200" b="0" i="0" u="none" baseline="0" dirty="0">
                <a:latin typeface="Arial"/>
                <a:cs typeface="Arial"/>
              </a:rPr>
              <a:t>Процесс является многоэтапным, и группа по управлению проектом (PMT) </a:t>
            </a:r>
            <a:r>
              <a:rPr lang="en-US" sz="1200" b="0" i="0" u="none" baseline="0" dirty="0" smtClean="0">
                <a:latin typeface="Arial"/>
                <a:cs typeface="Arial"/>
              </a:rPr>
              <a:t>	    </a:t>
            </a:r>
            <a:r>
              <a:rPr lang="ru-RU" sz="1200" b="0" i="0" u="none" baseline="0" dirty="0" smtClean="0">
                <a:latin typeface="Arial"/>
                <a:cs typeface="Arial"/>
              </a:rPr>
              <a:t>должна </a:t>
            </a:r>
            <a:r>
              <a:rPr lang="ru-RU" sz="1200" b="0" i="0" u="none" baseline="0" dirty="0">
                <a:latin typeface="Arial"/>
                <a:cs typeface="Arial"/>
              </a:rPr>
              <a:t>четко контролировать сроки его реализации</a:t>
            </a:r>
          </a:p>
          <a:p>
            <a:pPr algn="l" rtl="0">
              <a:buClrTx/>
            </a:pPr>
            <a:r>
              <a:rPr lang="ru-RU" sz="1200" b="0" i="0" u="none" baseline="0" dirty="0">
                <a:latin typeface="Arial"/>
                <a:cs typeface="Arial"/>
              </a:rPr>
              <a:t>	  </a:t>
            </a:r>
            <a:r>
              <a:rPr lang="en-US" sz="1200" b="0" i="0" u="none" baseline="0" dirty="0" smtClean="0">
                <a:latin typeface="Arial"/>
                <a:cs typeface="Arial"/>
              </a:rPr>
              <a:t>  </a:t>
            </a:r>
            <a:r>
              <a:rPr lang="ru-RU" sz="1200" b="0" i="0" u="none" baseline="0" dirty="0" smtClean="0">
                <a:latin typeface="Arial"/>
                <a:cs typeface="Arial"/>
              </a:rPr>
              <a:t>Отклонения</a:t>
            </a:r>
            <a:r>
              <a:rPr lang="ru-RU" sz="1200" b="0" i="0" u="none" baseline="0" dirty="0">
                <a:latin typeface="Arial"/>
                <a:cs typeface="Arial"/>
              </a:rPr>
              <a:t>, вызванные ненадлежащей оценкой готовности медицинского </a:t>
            </a:r>
            <a:r>
              <a:rPr lang="en-US" sz="1200" b="0" i="0" u="none" baseline="0" dirty="0" smtClean="0">
                <a:latin typeface="Arial"/>
                <a:cs typeface="Arial"/>
              </a:rPr>
              <a:t>	    </a:t>
            </a:r>
            <a:r>
              <a:rPr lang="ru-RU" sz="1200" b="0" i="0" u="none" baseline="0" dirty="0" smtClean="0">
                <a:latin typeface="Arial"/>
                <a:cs typeface="Arial"/>
              </a:rPr>
              <a:t>учреждения</a:t>
            </a:r>
            <a:endParaRPr lang="ru-RU" sz="1200" b="0" i="0" u="none" baseline="0" dirty="0">
              <a:latin typeface="Arial"/>
              <a:cs typeface="Arial"/>
            </a:endParaRPr>
          </a:p>
          <a:p>
            <a:pPr algn="l" rtl="0">
              <a:buClrTx/>
            </a:pPr>
            <a:r>
              <a:rPr lang="ru-RU" sz="1200" b="0" i="0" u="none" baseline="0" dirty="0">
                <a:latin typeface="Arial"/>
                <a:cs typeface="Arial"/>
              </a:rPr>
              <a:t>	  </a:t>
            </a:r>
            <a:r>
              <a:rPr lang="en-US" sz="1200" b="0" i="0" u="none" baseline="0" dirty="0" smtClean="0">
                <a:latin typeface="Arial"/>
                <a:cs typeface="Arial"/>
              </a:rPr>
              <a:t>  </a:t>
            </a:r>
            <a:r>
              <a:rPr lang="ru-RU" sz="1200" b="0" i="0" u="none" baseline="0" dirty="0" smtClean="0">
                <a:latin typeface="Arial"/>
                <a:cs typeface="Arial"/>
              </a:rPr>
              <a:t>Процесс </a:t>
            </a:r>
            <a:r>
              <a:rPr lang="ru-RU" sz="1200" b="0" i="0" u="none" baseline="0" dirty="0">
                <a:latin typeface="Arial"/>
                <a:cs typeface="Arial"/>
              </a:rPr>
              <a:t>таможенного оформления</a:t>
            </a:r>
          </a:p>
          <a:p>
            <a:pPr marL="285750" indent="-285750" algn="l" rtl="0">
              <a:buClrTx/>
              <a:buFont typeface="Courier New"/>
              <a:buChar char="o"/>
            </a:pPr>
            <a:r>
              <a:rPr lang="ru-RU" sz="1200" b="1" i="0" u="none" baseline="0" dirty="0">
                <a:latin typeface="Arial"/>
                <a:cs typeface="Arial"/>
              </a:rPr>
              <a:t>Расходы: </a:t>
            </a:r>
            <a:r>
              <a:rPr lang="ru-RU" sz="1200" b="0" i="0" u="none" baseline="0" dirty="0">
                <a:latin typeface="Arial"/>
                <a:cs typeface="Arial"/>
              </a:rPr>
              <a:t>Отклонения, вызванные низким качеством оценки готовности медицинского </a:t>
            </a:r>
            <a:r>
              <a:rPr lang="en-US" sz="1200" b="0" i="0" u="none" baseline="0" dirty="0" smtClean="0">
                <a:latin typeface="Arial"/>
                <a:cs typeface="Arial"/>
              </a:rPr>
              <a:t>	   </a:t>
            </a:r>
            <a:r>
              <a:rPr lang="ru-RU" sz="1200" b="0" i="0" u="none" baseline="0" dirty="0" smtClean="0">
                <a:latin typeface="Arial"/>
                <a:cs typeface="Arial"/>
              </a:rPr>
              <a:t>учреждения</a:t>
            </a:r>
            <a:endParaRPr lang="ru-RU" sz="1200" b="0" i="0" u="none" baseline="0" dirty="0">
              <a:latin typeface="Arial"/>
              <a:cs typeface="Arial"/>
            </a:endParaRPr>
          </a:p>
          <a:p>
            <a:pPr algn="l" rtl="0"/>
            <a:r>
              <a:rPr lang="ru-RU" sz="1200" b="0" i="0" u="none" baseline="0" dirty="0">
                <a:latin typeface="Arial"/>
                <a:cs typeface="Arial"/>
              </a:rPr>
              <a:t>	</a:t>
            </a:r>
            <a:r>
              <a:rPr lang="en-US" sz="1200" b="0" i="0" u="none" baseline="0" dirty="0" smtClean="0">
                <a:latin typeface="Arial"/>
                <a:cs typeface="Arial"/>
              </a:rPr>
              <a:t>   </a:t>
            </a:r>
            <a:r>
              <a:rPr lang="ru-RU" sz="1200" b="0" i="0" u="none" baseline="0" dirty="0" smtClean="0">
                <a:latin typeface="Arial"/>
                <a:cs typeface="Arial"/>
              </a:rPr>
              <a:t>Процесс </a:t>
            </a:r>
            <a:r>
              <a:rPr lang="ru-RU" sz="1200" b="0" i="0" u="none" baseline="0" dirty="0">
                <a:latin typeface="Arial"/>
                <a:cs typeface="Arial"/>
              </a:rPr>
              <a:t>таможенного оформления</a:t>
            </a:r>
          </a:p>
          <a:p>
            <a:pPr algn="l" rtl="0">
              <a:buFont typeface="Arial" panose="020B0604020202020204" pitchFamily="34" charset="0"/>
              <a:buChar char="•"/>
            </a:pPr>
            <a:endParaRPr lang="ru" sz="1200" dirty="0" smtClean="0">
              <a:latin typeface="Arial"/>
              <a:cs typeface="Arial"/>
            </a:endParaRPr>
          </a:p>
          <a:p>
            <a:pPr algn="l" rtl="0">
              <a:buFont typeface="Arial" panose="020B0604020202020204" pitchFamily="34" charset="0"/>
              <a:buChar char="•"/>
            </a:pPr>
            <a:endParaRPr lang="ru" sz="1200" dirty="0" smtClean="0">
              <a:latin typeface="Arial"/>
              <a:cs typeface="Arial"/>
            </a:endParaRPr>
          </a:p>
          <a:p>
            <a:pPr algn="l" rtl="0">
              <a:buFont typeface="Arial" panose="020B0604020202020204" pitchFamily="34" charset="0"/>
              <a:buChar char="•"/>
            </a:pPr>
            <a:endParaRPr lang="ru" sz="1200" dirty="0">
              <a:latin typeface="Arial"/>
              <a:cs typeface="Arial"/>
            </a:endParaRPr>
          </a:p>
        </p:txBody>
      </p:sp>
      <p:sp>
        <p:nvSpPr>
          <p:cNvPr id="60" name="Content Placeholder 1"/>
          <p:cNvSpPr txBox="1">
            <a:spLocks/>
          </p:cNvSpPr>
          <p:nvPr/>
        </p:nvSpPr>
        <p:spPr>
          <a:xfrm>
            <a:off x="1904999" y="1447800"/>
            <a:ext cx="6857999" cy="914400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 algn="l" rtl="0">
              <a:buClrTx/>
              <a:buFont typeface="Courier New"/>
              <a:buChar char="o"/>
            </a:pPr>
            <a:r>
              <a:rPr lang="ru-RU" sz="1200" b="0" i="0" u="none" baseline="0" dirty="0">
                <a:latin typeface="Arial"/>
                <a:cs typeface="Arial"/>
              </a:rPr>
              <a:t>Предоставить ЮНИСЕФ ключевую информацию для составления точного оцененного оперативного плана, являющегося основой для составления сметы расходов</a:t>
            </a:r>
          </a:p>
          <a:p>
            <a:pPr marL="285750" indent="-285750" algn="l" rtl="0">
              <a:buClrTx/>
              <a:buFont typeface="Courier New"/>
              <a:buChar char="o"/>
            </a:pPr>
            <a:r>
              <a:rPr lang="ru-RU" sz="1200" b="0" i="0" u="none" baseline="0" dirty="0">
                <a:latin typeface="Arial"/>
                <a:cs typeface="Arial"/>
              </a:rPr>
              <a:t>Оказать содействие поставщикам в получении точной информации для установки оборудования</a:t>
            </a:r>
          </a:p>
          <a:p>
            <a:pPr marL="285750" indent="-285750" algn="l" rtl="0">
              <a:buClrTx/>
              <a:buFont typeface="Courier New"/>
              <a:buChar char="o"/>
            </a:pPr>
            <a:r>
              <a:rPr lang="ru-RU" sz="1200" b="0" i="0" u="none" baseline="0" dirty="0">
                <a:latin typeface="Arial"/>
                <a:cs typeface="Arial"/>
              </a:rPr>
              <a:t>Снизить риск и расходы, связанные с отклонениями от плана</a:t>
            </a:r>
            <a:endParaRPr lang="ru" sz="1200" dirty="0" smtClean="0">
              <a:latin typeface="Arial"/>
              <a:cs typeface="Arial"/>
            </a:endParaRPr>
          </a:p>
        </p:txBody>
      </p:sp>
      <p:sp>
        <p:nvSpPr>
          <p:cNvPr id="61" name="Content Placeholder 1"/>
          <p:cNvSpPr txBox="1">
            <a:spLocks/>
          </p:cNvSpPr>
          <p:nvPr/>
        </p:nvSpPr>
        <p:spPr>
          <a:xfrm>
            <a:off x="1905000" y="2464820"/>
            <a:ext cx="7239000" cy="2362200"/>
          </a:xfrm>
          <a:prstGeom prst="rect">
            <a:avLst/>
          </a:prstGeom>
        </p:spPr>
        <p:txBody>
          <a:bodyPr/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 algn="l" rtl="0">
              <a:buClrTx/>
              <a:buFont typeface="Courier New"/>
              <a:buChar char="o"/>
            </a:pPr>
            <a:r>
              <a:rPr lang="ru-RU" sz="1200" b="0" i="0" u="none" baseline="0" dirty="0">
                <a:latin typeface="Arial"/>
                <a:cs typeface="Arial"/>
              </a:rPr>
              <a:t>Организация группы по управлению проектом (PMT), прикрепленной к национальной рабочей группе по логистике (NLWG), для координации процесса</a:t>
            </a:r>
          </a:p>
          <a:p>
            <a:pPr marL="285750" indent="-285750" algn="l" rtl="0">
              <a:buClrTx/>
              <a:buFont typeface="Courier New"/>
              <a:buChar char="o"/>
            </a:pPr>
            <a:r>
              <a:rPr lang="ru-RU" sz="1200" b="0" i="0" u="none" baseline="0" dirty="0">
                <a:latin typeface="Arial"/>
                <a:cs typeface="Arial"/>
              </a:rPr>
              <a:t>Выполнение оценки готовности медицинского учреждения и подтверждение правильности информации</a:t>
            </a:r>
          </a:p>
          <a:p>
            <a:pPr marL="285750" indent="-285750" algn="l" rtl="0">
              <a:buFont typeface="Courier New"/>
              <a:buChar char="o"/>
            </a:pPr>
            <a:endParaRPr lang="ru" sz="1000" b="1" dirty="0" smtClean="0">
              <a:latin typeface="Arial"/>
              <a:cs typeface="Arial"/>
            </a:endParaRPr>
          </a:p>
          <a:p>
            <a:pPr algn="l" rtl="0"/>
            <a:r>
              <a:rPr lang="ru-RU" sz="1000" b="1" i="0" u="none" baseline="0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Примечание: Данный процесс может быть инициирован непосредственно после получения от НКРЗ рекомендации к </a:t>
            </a:r>
            <a:r>
              <a:rPr lang="ru-RU" sz="1000" b="1" i="0" u="none" baseline="0" dirty="0" smtClean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одобрению </a:t>
            </a:r>
            <a:r>
              <a:rPr lang="ru-RU" sz="1000" b="1" i="0" u="none" baseline="0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заявки в рамках ПООХЦ</a:t>
            </a:r>
            <a:r>
              <a:rPr lang="ru-RU" sz="1000" b="1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/>
            </a:r>
            <a:br>
              <a:rPr lang="ru-RU" sz="1000" b="1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</a:br>
            <a:endParaRPr lang="ru" sz="1000" b="1" dirty="0" smtClean="0">
              <a:solidFill>
                <a:schemeClr val="bg1">
                  <a:lumMod val="50000"/>
                </a:schemeClr>
              </a:solidFill>
              <a:latin typeface="Arial"/>
              <a:cs typeface="Arial"/>
            </a:endParaRPr>
          </a:p>
          <a:p>
            <a:pPr marL="285750" indent="-285750" algn="l" rtl="0">
              <a:buClrTx/>
              <a:buFont typeface="Courier New"/>
              <a:buChar char="o"/>
            </a:pPr>
            <a:r>
              <a:rPr lang="ru-RU" sz="1200" b="0" i="0" u="none" baseline="0" dirty="0">
                <a:latin typeface="Arial"/>
                <a:cs typeface="Arial"/>
              </a:rPr>
              <a:t>Определение места хранения запасных частей</a:t>
            </a:r>
          </a:p>
          <a:p>
            <a:pPr marL="285750" indent="-285750" algn="l" rtl="0">
              <a:buClrTx/>
              <a:buFont typeface="Courier New"/>
              <a:buChar char="o"/>
            </a:pPr>
            <a:r>
              <a:rPr lang="ru-RU" sz="1200" b="0" i="0" u="none" baseline="0" dirty="0">
                <a:latin typeface="Arial"/>
                <a:cs typeface="Arial"/>
              </a:rPr>
              <a:t>Определение документации для таможенного оформления</a:t>
            </a:r>
          </a:p>
          <a:p>
            <a:pPr marL="285750" indent="-285750" algn="l" rtl="0">
              <a:buClrTx/>
              <a:buFont typeface="Courier New"/>
              <a:buChar char="o"/>
            </a:pPr>
            <a:r>
              <a:rPr lang="ru-RU" sz="1200" b="0" i="0" u="none" baseline="0" dirty="0">
                <a:latin typeface="Arial"/>
                <a:cs typeface="Arial"/>
              </a:rPr>
              <a:t>Определение рисков и стратегии управления рисками для включения в протокол отклонений</a:t>
            </a:r>
          </a:p>
          <a:p>
            <a:pPr marL="285750" indent="-285750" algn="l" rtl="0">
              <a:buClrTx/>
              <a:buFont typeface="Courier New"/>
              <a:buChar char="o"/>
            </a:pPr>
            <a:r>
              <a:rPr lang="ru-RU" sz="1200" b="0" i="0" u="none" baseline="0" dirty="0">
                <a:latin typeface="Arial"/>
                <a:cs typeface="Arial"/>
              </a:rPr>
              <a:t>Включение всей необходимой информации в прилагаемый шаблон Excel и его передача в Министерство здравоохранения на утверждение перед подачей в ЮНИСЕФ</a:t>
            </a:r>
            <a:endParaRPr lang="ru" sz="1200" dirty="0">
              <a:latin typeface="Arial"/>
              <a:cs typeface="Arial"/>
            </a:endParaRPr>
          </a:p>
        </p:txBody>
      </p:sp>
      <p:pic>
        <p:nvPicPr>
          <p:cNvPr id="62" name="Picture 6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20320" y="1346200"/>
            <a:ext cx="3822700" cy="50800"/>
          </a:xfrm>
          <a:prstGeom prst="rect">
            <a:avLst/>
          </a:prstGeom>
        </p:spPr>
      </p:pic>
      <p:pic>
        <p:nvPicPr>
          <p:cNvPr id="63" name="Picture 62"/>
          <p:cNvPicPr>
            <a:picLocks/>
          </p:cNvPicPr>
          <p:nvPr/>
        </p:nvPicPr>
        <p:blipFill>
          <a:blip r:embed="rId8">
            <a:alphaModFix amt="66000"/>
          </a:blip>
          <a:stretch>
            <a:fillRect/>
          </a:stretch>
        </p:blipFill>
        <p:spPr>
          <a:xfrm>
            <a:off x="1904999" y="2423255"/>
            <a:ext cx="6858000" cy="27432"/>
          </a:xfrm>
          <a:prstGeom prst="rect">
            <a:avLst/>
          </a:prstGeom>
          <a:ln>
            <a:solidFill>
              <a:srgbClr val="F5FBBC"/>
            </a:solidFill>
          </a:ln>
        </p:spPr>
      </p:pic>
      <p:pic>
        <p:nvPicPr>
          <p:cNvPr id="64" name="Picture 63"/>
          <p:cNvPicPr>
            <a:picLocks/>
          </p:cNvPicPr>
          <p:nvPr/>
        </p:nvPicPr>
        <p:blipFill>
          <a:blip r:embed="rId8">
            <a:alphaModFix amt="66000"/>
          </a:blip>
          <a:stretch>
            <a:fillRect/>
          </a:stretch>
        </p:blipFill>
        <p:spPr>
          <a:xfrm>
            <a:off x="1904999" y="4852425"/>
            <a:ext cx="6858000" cy="27432"/>
          </a:xfrm>
          <a:prstGeom prst="rect">
            <a:avLst/>
          </a:prstGeom>
          <a:ln>
            <a:solidFill>
              <a:srgbClr val="F5FBBC"/>
            </a:solidFill>
          </a:ln>
        </p:spPr>
      </p:pic>
      <p:sp>
        <p:nvSpPr>
          <p:cNvPr id="66" name="Rectangle 6"/>
          <p:cNvSpPr txBox="1">
            <a:spLocks/>
          </p:cNvSpPr>
          <p:nvPr/>
        </p:nvSpPr>
        <p:spPr>
          <a:xfrm>
            <a:off x="199610" y="1529961"/>
            <a:ext cx="1552990" cy="832239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 defTabSz="914400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i="0" u="none" baseline="0" dirty="0">
                <a:solidFill>
                  <a:srgbClr val="1F1F1F"/>
                </a:solidFill>
                <a:cs typeface="Arial"/>
              </a:rPr>
              <a:t>Цель</a:t>
            </a:r>
          </a:p>
          <a:p>
            <a:pPr marL="95250" algn="ctr" defTabSz="914400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ru" sz="1400" b="1" dirty="0">
              <a:solidFill>
                <a:srgbClr val="1F1F1F"/>
              </a:solidFill>
              <a:cs typeface="Arial"/>
            </a:endParaRPr>
          </a:p>
        </p:txBody>
      </p:sp>
      <p:sp>
        <p:nvSpPr>
          <p:cNvPr id="67" name="Rectangle 6"/>
          <p:cNvSpPr txBox="1">
            <a:spLocks/>
          </p:cNvSpPr>
          <p:nvPr/>
        </p:nvSpPr>
        <p:spPr>
          <a:xfrm>
            <a:off x="199610" y="2459236"/>
            <a:ext cx="1552990" cy="832239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 defTabSz="914400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i="0" u="none" baseline="0" dirty="0">
                <a:solidFill>
                  <a:srgbClr val="1F1F1F"/>
                </a:solidFill>
                <a:cs typeface="Arial"/>
              </a:rPr>
              <a:t>Ключевые этапы</a:t>
            </a:r>
          </a:p>
          <a:p>
            <a:pPr marL="95250" algn="ctr" defTabSz="914400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ru" sz="1400" b="1" dirty="0">
              <a:solidFill>
                <a:srgbClr val="1F1F1F"/>
              </a:solidFill>
              <a:cs typeface="Arial"/>
            </a:endParaRPr>
          </a:p>
        </p:txBody>
      </p:sp>
      <p:sp>
        <p:nvSpPr>
          <p:cNvPr id="68" name="Rectangle 6"/>
          <p:cNvSpPr txBox="1">
            <a:spLocks/>
          </p:cNvSpPr>
          <p:nvPr/>
        </p:nvSpPr>
        <p:spPr>
          <a:xfrm>
            <a:off x="199610" y="4896546"/>
            <a:ext cx="1552990" cy="832239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 defTabSz="914400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i="0" u="none" baseline="0">
                <a:solidFill>
                  <a:srgbClr val="1F1F1F"/>
                </a:solidFill>
                <a:cs typeface="Arial"/>
              </a:rPr>
              <a:t>Риски</a:t>
            </a:r>
          </a:p>
          <a:p>
            <a:pPr marL="95250" algn="ctr" defTabSz="914400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ru" sz="1400" b="1" dirty="0">
              <a:solidFill>
                <a:srgbClr val="1F1F1F"/>
              </a:solidFill>
              <a:cs typeface="Arial"/>
            </a:endParaRPr>
          </a:p>
        </p:txBody>
      </p:sp>
      <p:sp>
        <p:nvSpPr>
          <p:cNvPr id="69" name="Rectangle 68"/>
          <p:cNvSpPr/>
          <p:nvPr/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 rtl="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ru" dirty="0" smtClean="0"/>
          </a:p>
        </p:txBody>
      </p:sp>
      <p:sp>
        <p:nvSpPr>
          <p:cNvPr id="71" name="Title 1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56182" y="106680"/>
            <a:ext cx="848781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defTabSz="911135" rtl="0" fontAlgn="base">
              <a:spcBef>
                <a:spcPct val="0"/>
              </a:spcBef>
              <a:spcAft>
                <a:spcPct val="0"/>
              </a:spcAft>
              <a:tabLst>
                <a:tab pos="368907" algn="l"/>
              </a:tabLst>
              <a:defRPr/>
            </a:pPr>
            <a:r>
              <a:rPr lang="ru-RU" sz="1400" b="1" i="0" u="none" baseline="0" dirty="0">
                <a:solidFill>
                  <a:schemeClr val="bg1"/>
                </a:solidFill>
                <a:latin typeface="Arial Narrow"/>
                <a:cs typeface="Arial Narrow"/>
              </a:rPr>
              <a:t>Цели руководства</a:t>
            </a:r>
          </a:p>
        </p:txBody>
      </p:sp>
    </p:spTree>
    <p:extLst>
      <p:ext uri="{BB962C8B-B14F-4D97-AF65-F5344CB8AC3E}">
        <p14:creationId xmlns:p14="http://schemas.microsoft.com/office/powerpoint/2010/main" val="4207829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/>
          </p:cNvGraphicFramePr>
          <p:nvPr/>
        </p:nvGraphicFramePr>
        <p:xfrm>
          <a:off x="158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479" name="think-cell Slide" r:id="rId27" imgW="360" imgH="360" progId="TCLayout.ActiveDocument.1">
                  <p:embed/>
                </p:oleObj>
              </mc:Choice>
              <mc:Fallback>
                <p:oleObj name="think-cell Slide" r:id="rId27" imgW="360" imgH="360" progId="TCLayout.ActiveDocument.1">
                  <p:embed/>
                  <p:pic>
                    <p:nvPicPr>
                      <p:cNvPr id="0" name="Picture 28"/>
                      <p:cNvPicPr>
                        <a:picLocks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tangle 69" hidden="1"/>
          <p:cNvSpPr/>
          <p:nvPr>
            <p:custDataLst>
              <p:tags r:id="rId2"/>
            </p:custDataLst>
          </p:nvPr>
        </p:nvSpPr>
        <p:spPr bwMode="auto">
          <a:xfrm>
            <a:off x="0" y="2"/>
            <a:ext cx="292388" cy="276999"/>
          </a:xfrm>
          <a:prstGeom prst="rect">
            <a:avLst/>
          </a:prstGeom>
          <a:solidFill>
            <a:scrgbClr r="0" g="0" b="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ctr" defTabSz="787234" rtl="0">
              <a:spcBef>
                <a:spcPct val="0"/>
              </a:spcBef>
              <a:spcAft>
                <a:spcPct val="0"/>
              </a:spcAft>
              <a:buClr>
                <a:srgbClr val="204024"/>
              </a:buClr>
              <a:buSzPct val="125000"/>
            </a:pPr>
            <a:endParaRPr lang="ru" sz="14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2" name="Rectangle 1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438400" y="1324572"/>
            <a:ext cx="5714716" cy="14186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ru"/>
            </a:defPPr>
            <a:lvl1pPr algn="l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algn="l" defTabSz="895350">
              <a:spcBef>
                <a:spcPts val="500"/>
              </a:spcBef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Предварительная оценка ВОЗ</a:t>
            </a:r>
          </a:p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204024">
                    <a:lumMod val="50000"/>
                  </a:srgbClr>
                </a:solidFill>
              </a:rPr>
              <a:t>Оценка НКРЗ</a:t>
            </a:r>
          </a:p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204024">
                    <a:lumMod val="50000"/>
                  </a:srgbClr>
                </a:solidFill>
                <a:ea typeface="ＭＳ Ｐゴシック"/>
              </a:rPr>
              <a:t>Утверждение Советом Гави</a:t>
            </a: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 </a:t>
            </a:r>
          </a:p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Предоставление Гави письма-решения стране</a:t>
            </a:r>
          </a:p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Предоставление Гави утвержденного графика в Отдел поставок (SD) </a:t>
            </a:r>
            <a:r>
              <a:rPr lang="ru-RU" sz="1100" b="0" i="0" u="none" baseline="0" dirty="0" smtClean="0">
                <a:solidFill>
                  <a:srgbClr val="000000"/>
                </a:solidFill>
                <a:ea typeface="ＭＳ Ｐゴシック"/>
              </a:rPr>
              <a:t>ЮНИСЕФ</a:t>
            </a:r>
            <a:endParaRPr lang="ru" sz="1100" dirty="0" smtClean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65" name="Rectangle 1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438400" y="2819400"/>
            <a:ext cx="5876525" cy="246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ru"/>
            </a:defPPr>
            <a:lvl1pPr algn="l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algn="l" defTabSz="895350">
              <a:spcBef>
                <a:spcPts val="500"/>
              </a:spcBef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Предоставление Министерством здравоохранения плана оперативного развертывания Отделу поставок (SD) ЮНИСЕФ</a:t>
            </a:r>
          </a:p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Отдел поставок (SD) ЮНИСЕФ объявляет тендер на совокупность услуг и разрабатывает оцененный оперативный план</a:t>
            </a:r>
          </a:p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Утверждение Гави оцененного оперативного плана</a:t>
            </a:r>
          </a:p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Согласование оцененного оперативного плана с Министерством здравоохранения</a:t>
            </a:r>
          </a:p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Предоставление Отделом поставок (SD) ЮНИСЕФ сметы расходов (CE) Министерству здравоохранения</a:t>
            </a:r>
            <a:endParaRPr lang="ru" sz="1100" dirty="0" smtClean="0">
              <a:solidFill>
                <a:srgbClr val="000000"/>
              </a:solidFill>
              <a:ea typeface="ＭＳ Ｐゴシック"/>
            </a:endParaRPr>
          </a:p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Министерство здравоохранения принимает смету расходов (CE) и передает долю страны в совместных инвестициях Отделу поставок (SD) ЮНИСЕФ</a:t>
            </a:r>
          </a:p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Гави передает долю совместных инвестиций Отделу поставок (SD) </a:t>
            </a:r>
            <a:r>
              <a:rPr lang="ru-RU" sz="1100" b="0" i="0" u="none" baseline="0" dirty="0" smtClean="0">
                <a:solidFill>
                  <a:srgbClr val="000000"/>
                </a:solidFill>
                <a:ea typeface="ＭＳ Ｐゴシック"/>
              </a:rPr>
              <a:t>ЮНИСЕФ</a:t>
            </a:r>
          </a:p>
        </p:txBody>
      </p:sp>
      <p:sp>
        <p:nvSpPr>
          <p:cNvPr id="74" name="Rectangle 3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2825411" y="923180"/>
            <a:ext cx="3203506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lvl="0" algn="l" defTabSz="895350" eaLnBrk="1" hangingPunct="1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l" rtl="0" fontAlgn="base">
              <a:spcBef>
                <a:spcPct val="0"/>
              </a:spcBef>
              <a:spcAft>
                <a:spcPct val="0"/>
              </a:spcAft>
              <a:buClr>
                <a:srgbClr val="339966"/>
              </a:buClr>
            </a:pPr>
            <a:r>
              <a:rPr lang="ru-RU" sz="1300" b="1" i="0" u="none" baseline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Мероприятия</a:t>
            </a:r>
            <a:endParaRPr lang="ru" sz="1300" b="1" dirty="0">
              <a:solidFill>
                <a:srgbClr val="E0EDFD">
                  <a:lumMod val="10000"/>
                </a:srgbClr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75" name="Rectangle 3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7924800" y="923180"/>
            <a:ext cx="1116000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lvl="0" algn="l" defTabSz="895350" eaLnBrk="1" hangingPunct="1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 rtl="0" fontAlgn="base">
              <a:spcBef>
                <a:spcPct val="0"/>
              </a:spcBef>
              <a:spcAft>
                <a:spcPct val="0"/>
              </a:spcAft>
              <a:buClr>
                <a:srgbClr val="339966"/>
              </a:buClr>
            </a:pPr>
            <a:r>
              <a:rPr lang="ru-RU" sz="1300" b="1" i="0" u="none" baseline="0" dirty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Проверка статуса</a:t>
            </a:r>
            <a:endParaRPr lang="ru" sz="1300" b="1" dirty="0">
              <a:solidFill>
                <a:srgbClr val="E0EDFD">
                  <a:lumMod val="10000"/>
                </a:srgbClr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76" name="Freeform 99"/>
          <p:cNvSpPr>
            <a:spLocks noChangeAspect="1"/>
          </p:cNvSpPr>
          <p:nvPr>
            <p:custDataLst>
              <p:tags r:id="rId7"/>
            </p:custDataLst>
          </p:nvPr>
        </p:nvSpPr>
        <p:spPr bwMode="auto">
          <a:xfrm>
            <a:off x="8561400" y="1612800"/>
            <a:ext cx="227698" cy="216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pPr algn="r"/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9" name="Freeform 99"/>
          <p:cNvSpPr>
            <a:spLocks noChangeAspect="1"/>
          </p:cNvSpPr>
          <p:nvPr>
            <p:custDataLst>
              <p:tags r:id="rId8"/>
            </p:custDataLst>
          </p:nvPr>
        </p:nvSpPr>
        <p:spPr bwMode="auto">
          <a:xfrm>
            <a:off x="8561400" y="1371600"/>
            <a:ext cx="227698" cy="216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pPr algn="r"/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0" name="Freeform 99"/>
          <p:cNvSpPr>
            <a:spLocks noChangeAspect="1"/>
          </p:cNvSpPr>
          <p:nvPr>
            <p:custDataLst>
              <p:tags r:id="rId9"/>
            </p:custDataLst>
          </p:nvPr>
        </p:nvSpPr>
        <p:spPr bwMode="auto">
          <a:xfrm>
            <a:off x="8561400" y="1840774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pPr algn="r"/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2" name="Freeform 99"/>
          <p:cNvSpPr>
            <a:spLocks noChangeAspect="1"/>
          </p:cNvSpPr>
          <p:nvPr>
            <p:custDataLst>
              <p:tags r:id="rId10"/>
            </p:custDataLst>
          </p:nvPr>
        </p:nvSpPr>
        <p:spPr bwMode="auto">
          <a:xfrm>
            <a:off x="8561400" y="2116585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pPr algn="r"/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4" name="Freeform 99"/>
          <p:cNvSpPr>
            <a:spLocks noChangeAspect="1"/>
          </p:cNvSpPr>
          <p:nvPr>
            <p:custDataLst>
              <p:tags r:id="rId11"/>
            </p:custDataLst>
          </p:nvPr>
        </p:nvSpPr>
        <p:spPr bwMode="auto">
          <a:xfrm>
            <a:off x="8561400" y="2884055"/>
            <a:ext cx="227698" cy="216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pPr algn="r"/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6" name="Freeform 99"/>
          <p:cNvSpPr>
            <a:spLocks noChangeAspect="1"/>
          </p:cNvSpPr>
          <p:nvPr>
            <p:custDataLst>
              <p:tags r:id="rId12"/>
            </p:custDataLst>
          </p:nvPr>
        </p:nvSpPr>
        <p:spPr bwMode="auto">
          <a:xfrm>
            <a:off x="8561400" y="3693997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pPr algn="r"/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7" name="Freeform 99"/>
          <p:cNvSpPr>
            <a:spLocks noChangeAspect="1"/>
          </p:cNvSpPr>
          <p:nvPr>
            <p:custDataLst>
              <p:tags r:id="rId13"/>
            </p:custDataLst>
          </p:nvPr>
        </p:nvSpPr>
        <p:spPr bwMode="auto">
          <a:xfrm>
            <a:off x="8561400" y="4226709"/>
            <a:ext cx="227698" cy="216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pPr algn="r"/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8" name="Freeform 99"/>
          <p:cNvSpPr>
            <a:spLocks noChangeAspect="1"/>
          </p:cNvSpPr>
          <p:nvPr>
            <p:custDataLst>
              <p:tags r:id="rId14"/>
            </p:custDataLst>
          </p:nvPr>
        </p:nvSpPr>
        <p:spPr bwMode="auto">
          <a:xfrm>
            <a:off x="8561400" y="3934509"/>
            <a:ext cx="227698" cy="216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pPr algn="r"/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9" name="Freeform 99"/>
          <p:cNvSpPr>
            <a:spLocks noChangeAspect="1"/>
          </p:cNvSpPr>
          <p:nvPr>
            <p:custDataLst>
              <p:tags r:id="rId15"/>
            </p:custDataLst>
          </p:nvPr>
        </p:nvSpPr>
        <p:spPr bwMode="auto">
          <a:xfrm>
            <a:off x="8561400" y="4455309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pPr algn="r"/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0" name="Freeform 99"/>
          <p:cNvSpPr>
            <a:spLocks noChangeAspect="1"/>
          </p:cNvSpPr>
          <p:nvPr>
            <p:custDataLst>
              <p:tags r:id="rId16"/>
            </p:custDataLst>
          </p:nvPr>
        </p:nvSpPr>
        <p:spPr bwMode="auto">
          <a:xfrm>
            <a:off x="8561400" y="4836309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pPr algn="r"/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2" name="Group 102"/>
          <p:cNvGrpSpPr/>
          <p:nvPr>
            <p:custDataLst>
              <p:tags r:id="rId17"/>
            </p:custDataLst>
          </p:nvPr>
        </p:nvGrpSpPr>
        <p:grpSpPr>
          <a:xfrm>
            <a:off x="5105400" y="606623"/>
            <a:ext cx="3923716" cy="307777"/>
            <a:chOff x="4724684" y="332096"/>
            <a:chExt cx="3923716" cy="307777"/>
          </a:xfrm>
        </p:grpSpPr>
        <p:grpSp>
          <p:nvGrpSpPr>
            <p:cNvPr id="3" name="Group 98"/>
            <p:cNvGrpSpPr/>
            <p:nvPr/>
          </p:nvGrpSpPr>
          <p:grpSpPr>
            <a:xfrm>
              <a:off x="6946200" y="405099"/>
              <a:ext cx="895542" cy="141949"/>
              <a:chOff x="6946200" y="405099"/>
              <a:chExt cx="895542" cy="141949"/>
            </a:xfrm>
          </p:grpSpPr>
          <p:sp>
            <p:nvSpPr>
              <p:cNvPr id="95" name="Freeform 99"/>
              <p:cNvSpPr>
                <a:spLocks noChangeAspect="1"/>
              </p:cNvSpPr>
              <p:nvPr/>
            </p:nvSpPr>
            <p:spPr bwMode="auto">
              <a:xfrm>
                <a:off x="6946200" y="405099"/>
                <a:ext cx="144000" cy="136602"/>
              </a:xfrm>
              <a:custGeom>
                <a:avLst/>
                <a:gdLst>
                  <a:gd name="T0" fmla="*/ 3040 w 3040"/>
                  <a:gd name="T1" fmla="*/ 109 h 2884"/>
                  <a:gd name="T2" fmla="*/ 2860 w 3040"/>
                  <a:gd name="T3" fmla="*/ 256 h 2884"/>
                  <a:gd name="T4" fmla="*/ 2673 w 3040"/>
                  <a:gd name="T5" fmla="*/ 428 h 2884"/>
                  <a:gd name="T6" fmla="*/ 2479 w 3040"/>
                  <a:gd name="T7" fmla="*/ 627 h 2884"/>
                  <a:gd name="T8" fmla="*/ 2277 w 3040"/>
                  <a:gd name="T9" fmla="*/ 853 h 2884"/>
                  <a:gd name="T10" fmla="*/ 2067 w 3040"/>
                  <a:gd name="T11" fmla="*/ 1106 h 2884"/>
                  <a:gd name="T12" fmla="*/ 1926 w 3040"/>
                  <a:gd name="T13" fmla="*/ 1287 h 2884"/>
                  <a:gd name="T14" fmla="*/ 1727 w 3040"/>
                  <a:gd name="T15" fmla="*/ 1556 h 2884"/>
                  <a:gd name="T16" fmla="*/ 1546 w 3040"/>
                  <a:gd name="T17" fmla="*/ 1819 h 2884"/>
                  <a:gd name="T18" fmla="*/ 1385 w 3040"/>
                  <a:gd name="T19" fmla="*/ 2076 h 2884"/>
                  <a:gd name="T20" fmla="*/ 1243 w 3040"/>
                  <a:gd name="T21" fmla="*/ 2324 h 2884"/>
                  <a:gd name="T22" fmla="*/ 1120 w 3040"/>
                  <a:gd name="T23" fmla="*/ 2567 h 2884"/>
                  <a:gd name="T24" fmla="*/ 865 w 3040"/>
                  <a:gd name="T25" fmla="*/ 2741 h 2884"/>
                  <a:gd name="T26" fmla="*/ 704 w 3040"/>
                  <a:gd name="T27" fmla="*/ 2867 h 2884"/>
                  <a:gd name="T28" fmla="*/ 675 w 3040"/>
                  <a:gd name="T29" fmla="*/ 2856 h 2884"/>
                  <a:gd name="T30" fmla="*/ 603 w 3040"/>
                  <a:gd name="T31" fmla="*/ 2655 h 2884"/>
                  <a:gd name="T32" fmla="*/ 498 w 3040"/>
                  <a:gd name="T33" fmla="*/ 2404 h 2884"/>
                  <a:gd name="T34" fmla="*/ 401 w 3040"/>
                  <a:gd name="T35" fmla="*/ 2197 h 2884"/>
                  <a:gd name="T36" fmla="*/ 311 w 3040"/>
                  <a:gd name="T37" fmla="*/ 2034 h 2884"/>
                  <a:gd name="T38" fmla="*/ 253 w 3040"/>
                  <a:gd name="T39" fmla="*/ 1950 h 2884"/>
                  <a:gd name="T40" fmla="*/ 164 w 3040"/>
                  <a:gd name="T41" fmla="*/ 1855 h 2884"/>
                  <a:gd name="T42" fmla="*/ 69 w 3040"/>
                  <a:gd name="T43" fmla="*/ 1786 h 2884"/>
                  <a:gd name="T44" fmla="*/ 0 w 3040"/>
                  <a:gd name="T45" fmla="*/ 1757 h 2884"/>
                  <a:gd name="T46" fmla="*/ 87 w 3040"/>
                  <a:gd name="T47" fmla="*/ 1672 h 2884"/>
                  <a:gd name="T48" fmla="*/ 172 w 3040"/>
                  <a:gd name="T49" fmla="*/ 1605 h 2884"/>
                  <a:gd name="T50" fmla="*/ 254 w 3040"/>
                  <a:gd name="T51" fmla="*/ 1555 h 2884"/>
                  <a:gd name="T52" fmla="*/ 332 w 3040"/>
                  <a:gd name="T53" fmla="*/ 1523 h 2884"/>
                  <a:gd name="T54" fmla="*/ 409 w 3040"/>
                  <a:gd name="T55" fmla="*/ 1508 h 2884"/>
                  <a:gd name="T56" fmla="*/ 444 w 3040"/>
                  <a:gd name="T57" fmla="*/ 1507 h 2884"/>
                  <a:gd name="T58" fmla="*/ 476 w 3040"/>
                  <a:gd name="T59" fmla="*/ 1513 h 2884"/>
                  <a:gd name="T60" fmla="*/ 543 w 3040"/>
                  <a:gd name="T61" fmla="*/ 1551 h 2884"/>
                  <a:gd name="T62" fmla="*/ 612 w 3040"/>
                  <a:gd name="T63" fmla="*/ 1621 h 2884"/>
                  <a:gd name="T64" fmla="*/ 683 w 3040"/>
                  <a:gd name="T65" fmla="*/ 1723 h 2884"/>
                  <a:gd name="T66" fmla="*/ 757 w 3040"/>
                  <a:gd name="T67" fmla="*/ 1858 h 2884"/>
                  <a:gd name="T68" fmla="*/ 877 w 3040"/>
                  <a:gd name="T69" fmla="*/ 2117 h 2884"/>
                  <a:gd name="T70" fmla="*/ 973 w 3040"/>
                  <a:gd name="T71" fmla="*/ 1963 h 2884"/>
                  <a:gd name="T72" fmla="*/ 1129 w 3040"/>
                  <a:gd name="T73" fmla="*/ 1731 h 2884"/>
                  <a:gd name="T74" fmla="*/ 1299 w 3040"/>
                  <a:gd name="T75" fmla="*/ 1503 h 2884"/>
                  <a:gd name="T76" fmla="*/ 1485 w 3040"/>
                  <a:gd name="T77" fmla="*/ 1277 h 2884"/>
                  <a:gd name="T78" fmla="*/ 1685 w 3040"/>
                  <a:gd name="T79" fmla="*/ 1052 h 2884"/>
                  <a:gd name="T80" fmla="*/ 1828 w 3040"/>
                  <a:gd name="T81" fmla="*/ 904 h 2884"/>
                  <a:gd name="T82" fmla="*/ 2045 w 3040"/>
                  <a:gd name="T83" fmla="*/ 693 h 2884"/>
                  <a:gd name="T84" fmla="*/ 2260 w 3040"/>
                  <a:gd name="T85" fmla="*/ 502 h 2884"/>
                  <a:gd name="T86" fmla="*/ 2474 w 3040"/>
                  <a:gd name="T87" fmla="*/ 328 h 2884"/>
                  <a:gd name="T88" fmla="*/ 2685 w 3040"/>
                  <a:gd name="T89" fmla="*/ 175 h 2884"/>
                  <a:gd name="T90" fmla="*/ 2893 w 3040"/>
                  <a:gd name="T91" fmla="*/ 40 h 2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40" h="2884">
                    <a:moveTo>
                      <a:pt x="2963" y="0"/>
                    </a:moveTo>
                    <a:lnTo>
                      <a:pt x="3040" y="109"/>
                    </a:lnTo>
                    <a:lnTo>
                      <a:pt x="3040" y="109"/>
                    </a:lnTo>
                    <a:lnTo>
                      <a:pt x="2981" y="155"/>
                    </a:lnTo>
                    <a:lnTo>
                      <a:pt x="2922" y="203"/>
                    </a:lnTo>
                    <a:lnTo>
                      <a:pt x="2860" y="256"/>
                    </a:lnTo>
                    <a:lnTo>
                      <a:pt x="2799" y="309"/>
                    </a:lnTo>
                    <a:lnTo>
                      <a:pt x="2736" y="367"/>
                    </a:lnTo>
                    <a:lnTo>
                      <a:pt x="2673" y="428"/>
                    </a:lnTo>
                    <a:lnTo>
                      <a:pt x="2610" y="491"/>
                    </a:lnTo>
                    <a:lnTo>
                      <a:pt x="2545" y="557"/>
                    </a:lnTo>
                    <a:lnTo>
                      <a:pt x="2479" y="627"/>
                    </a:lnTo>
                    <a:lnTo>
                      <a:pt x="2413" y="699"/>
                    </a:lnTo>
                    <a:lnTo>
                      <a:pt x="2346" y="775"/>
                    </a:lnTo>
                    <a:lnTo>
                      <a:pt x="2277" y="853"/>
                    </a:lnTo>
                    <a:lnTo>
                      <a:pt x="2209" y="934"/>
                    </a:lnTo>
                    <a:lnTo>
                      <a:pt x="2139" y="1018"/>
                    </a:lnTo>
                    <a:lnTo>
                      <a:pt x="2067" y="1106"/>
                    </a:lnTo>
                    <a:lnTo>
                      <a:pt x="1996" y="1196"/>
                    </a:lnTo>
                    <a:lnTo>
                      <a:pt x="1996" y="1196"/>
                    </a:lnTo>
                    <a:lnTo>
                      <a:pt x="1926" y="1287"/>
                    </a:lnTo>
                    <a:lnTo>
                      <a:pt x="1858" y="1377"/>
                    </a:lnTo>
                    <a:lnTo>
                      <a:pt x="1790" y="1468"/>
                    </a:lnTo>
                    <a:lnTo>
                      <a:pt x="1727" y="1556"/>
                    </a:lnTo>
                    <a:lnTo>
                      <a:pt x="1664" y="1645"/>
                    </a:lnTo>
                    <a:lnTo>
                      <a:pt x="1605" y="1733"/>
                    </a:lnTo>
                    <a:lnTo>
                      <a:pt x="1546" y="1819"/>
                    </a:lnTo>
                    <a:lnTo>
                      <a:pt x="1490" y="1905"/>
                    </a:lnTo>
                    <a:lnTo>
                      <a:pt x="1437" y="1991"/>
                    </a:lnTo>
                    <a:lnTo>
                      <a:pt x="1385" y="2076"/>
                    </a:lnTo>
                    <a:lnTo>
                      <a:pt x="1336" y="2159"/>
                    </a:lnTo>
                    <a:lnTo>
                      <a:pt x="1289" y="2242"/>
                    </a:lnTo>
                    <a:lnTo>
                      <a:pt x="1243" y="2324"/>
                    </a:lnTo>
                    <a:lnTo>
                      <a:pt x="1200" y="2405"/>
                    </a:lnTo>
                    <a:lnTo>
                      <a:pt x="1160" y="2486"/>
                    </a:lnTo>
                    <a:lnTo>
                      <a:pt x="1120" y="2567"/>
                    </a:lnTo>
                    <a:lnTo>
                      <a:pt x="958" y="2676"/>
                    </a:lnTo>
                    <a:lnTo>
                      <a:pt x="958" y="2676"/>
                    </a:lnTo>
                    <a:lnTo>
                      <a:pt x="865" y="2741"/>
                    </a:lnTo>
                    <a:lnTo>
                      <a:pt x="788" y="2798"/>
                    </a:lnTo>
                    <a:lnTo>
                      <a:pt x="728" y="2845"/>
                    </a:lnTo>
                    <a:lnTo>
                      <a:pt x="704" y="2867"/>
                    </a:lnTo>
                    <a:lnTo>
                      <a:pt x="683" y="2884"/>
                    </a:lnTo>
                    <a:lnTo>
                      <a:pt x="683" y="2884"/>
                    </a:lnTo>
                    <a:lnTo>
                      <a:pt x="675" y="2856"/>
                    </a:lnTo>
                    <a:lnTo>
                      <a:pt x="666" y="2825"/>
                    </a:lnTo>
                    <a:lnTo>
                      <a:pt x="639" y="2748"/>
                    </a:lnTo>
                    <a:lnTo>
                      <a:pt x="603" y="2655"/>
                    </a:lnTo>
                    <a:lnTo>
                      <a:pt x="560" y="2546"/>
                    </a:lnTo>
                    <a:lnTo>
                      <a:pt x="498" y="2404"/>
                    </a:lnTo>
                    <a:lnTo>
                      <a:pt x="498" y="2404"/>
                    </a:lnTo>
                    <a:lnTo>
                      <a:pt x="465" y="2330"/>
                    </a:lnTo>
                    <a:lnTo>
                      <a:pt x="433" y="2261"/>
                    </a:lnTo>
                    <a:lnTo>
                      <a:pt x="401" y="2197"/>
                    </a:lnTo>
                    <a:lnTo>
                      <a:pt x="371" y="2137"/>
                    </a:lnTo>
                    <a:lnTo>
                      <a:pt x="340" y="2084"/>
                    </a:lnTo>
                    <a:lnTo>
                      <a:pt x="311" y="2034"/>
                    </a:lnTo>
                    <a:lnTo>
                      <a:pt x="281" y="1991"/>
                    </a:lnTo>
                    <a:lnTo>
                      <a:pt x="253" y="1950"/>
                    </a:lnTo>
                    <a:lnTo>
                      <a:pt x="253" y="1950"/>
                    </a:lnTo>
                    <a:lnTo>
                      <a:pt x="225" y="1915"/>
                    </a:lnTo>
                    <a:lnTo>
                      <a:pt x="195" y="1885"/>
                    </a:lnTo>
                    <a:lnTo>
                      <a:pt x="164" y="1855"/>
                    </a:lnTo>
                    <a:lnTo>
                      <a:pt x="133" y="1829"/>
                    </a:lnTo>
                    <a:lnTo>
                      <a:pt x="101" y="1807"/>
                    </a:lnTo>
                    <a:lnTo>
                      <a:pt x="69" y="1786"/>
                    </a:lnTo>
                    <a:lnTo>
                      <a:pt x="35" y="1770"/>
                    </a:lnTo>
                    <a:lnTo>
                      <a:pt x="0" y="1757"/>
                    </a:lnTo>
                    <a:lnTo>
                      <a:pt x="0" y="1757"/>
                    </a:lnTo>
                    <a:lnTo>
                      <a:pt x="30" y="1726"/>
                    </a:lnTo>
                    <a:lnTo>
                      <a:pt x="59" y="1698"/>
                    </a:lnTo>
                    <a:lnTo>
                      <a:pt x="87" y="1672"/>
                    </a:lnTo>
                    <a:lnTo>
                      <a:pt x="116" y="1646"/>
                    </a:lnTo>
                    <a:lnTo>
                      <a:pt x="144" y="1625"/>
                    </a:lnTo>
                    <a:lnTo>
                      <a:pt x="172" y="1605"/>
                    </a:lnTo>
                    <a:lnTo>
                      <a:pt x="199" y="1586"/>
                    </a:lnTo>
                    <a:lnTo>
                      <a:pt x="227" y="1568"/>
                    </a:lnTo>
                    <a:lnTo>
                      <a:pt x="254" y="1555"/>
                    </a:lnTo>
                    <a:lnTo>
                      <a:pt x="281" y="1542"/>
                    </a:lnTo>
                    <a:lnTo>
                      <a:pt x="307" y="1531"/>
                    </a:lnTo>
                    <a:lnTo>
                      <a:pt x="332" y="1523"/>
                    </a:lnTo>
                    <a:lnTo>
                      <a:pt x="359" y="1516"/>
                    </a:lnTo>
                    <a:lnTo>
                      <a:pt x="385" y="1511"/>
                    </a:lnTo>
                    <a:lnTo>
                      <a:pt x="409" y="1508"/>
                    </a:lnTo>
                    <a:lnTo>
                      <a:pt x="434" y="1507"/>
                    </a:lnTo>
                    <a:lnTo>
                      <a:pt x="434" y="1507"/>
                    </a:lnTo>
                    <a:lnTo>
                      <a:pt x="444" y="1507"/>
                    </a:lnTo>
                    <a:lnTo>
                      <a:pt x="455" y="1508"/>
                    </a:lnTo>
                    <a:lnTo>
                      <a:pt x="465" y="1511"/>
                    </a:lnTo>
                    <a:lnTo>
                      <a:pt x="476" y="1513"/>
                    </a:lnTo>
                    <a:lnTo>
                      <a:pt x="499" y="1523"/>
                    </a:lnTo>
                    <a:lnTo>
                      <a:pt x="521" y="1535"/>
                    </a:lnTo>
                    <a:lnTo>
                      <a:pt x="543" y="1551"/>
                    </a:lnTo>
                    <a:lnTo>
                      <a:pt x="566" y="1571"/>
                    </a:lnTo>
                    <a:lnTo>
                      <a:pt x="589" y="1594"/>
                    </a:lnTo>
                    <a:lnTo>
                      <a:pt x="612" y="1621"/>
                    </a:lnTo>
                    <a:lnTo>
                      <a:pt x="636" y="1652"/>
                    </a:lnTo>
                    <a:lnTo>
                      <a:pt x="659" y="1685"/>
                    </a:lnTo>
                    <a:lnTo>
                      <a:pt x="683" y="1723"/>
                    </a:lnTo>
                    <a:lnTo>
                      <a:pt x="708" y="1763"/>
                    </a:lnTo>
                    <a:lnTo>
                      <a:pt x="733" y="1809"/>
                    </a:lnTo>
                    <a:lnTo>
                      <a:pt x="757" y="1858"/>
                    </a:lnTo>
                    <a:lnTo>
                      <a:pt x="783" y="1909"/>
                    </a:lnTo>
                    <a:lnTo>
                      <a:pt x="808" y="1964"/>
                    </a:lnTo>
                    <a:lnTo>
                      <a:pt x="877" y="2117"/>
                    </a:lnTo>
                    <a:lnTo>
                      <a:pt x="877" y="2117"/>
                    </a:lnTo>
                    <a:lnTo>
                      <a:pt x="924" y="2039"/>
                    </a:lnTo>
                    <a:lnTo>
                      <a:pt x="973" y="1963"/>
                    </a:lnTo>
                    <a:lnTo>
                      <a:pt x="1024" y="1885"/>
                    </a:lnTo>
                    <a:lnTo>
                      <a:pt x="1075" y="1808"/>
                    </a:lnTo>
                    <a:lnTo>
                      <a:pt x="1129" y="1731"/>
                    </a:lnTo>
                    <a:lnTo>
                      <a:pt x="1184" y="1655"/>
                    </a:lnTo>
                    <a:lnTo>
                      <a:pt x="1242" y="1578"/>
                    </a:lnTo>
                    <a:lnTo>
                      <a:pt x="1299" y="1503"/>
                    </a:lnTo>
                    <a:lnTo>
                      <a:pt x="1360" y="1427"/>
                    </a:lnTo>
                    <a:lnTo>
                      <a:pt x="1422" y="1351"/>
                    </a:lnTo>
                    <a:lnTo>
                      <a:pt x="1485" y="1277"/>
                    </a:lnTo>
                    <a:lnTo>
                      <a:pt x="1551" y="1201"/>
                    </a:lnTo>
                    <a:lnTo>
                      <a:pt x="1618" y="1127"/>
                    </a:lnTo>
                    <a:lnTo>
                      <a:pt x="1685" y="1052"/>
                    </a:lnTo>
                    <a:lnTo>
                      <a:pt x="1757" y="978"/>
                    </a:lnTo>
                    <a:lnTo>
                      <a:pt x="1828" y="904"/>
                    </a:lnTo>
                    <a:lnTo>
                      <a:pt x="1828" y="904"/>
                    </a:lnTo>
                    <a:lnTo>
                      <a:pt x="1901" y="831"/>
                    </a:lnTo>
                    <a:lnTo>
                      <a:pt x="1973" y="761"/>
                    </a:lnTo>
                    <a:lnTo>
                      <a:pt x="2045" y="693"/>
                    </a:lnTo>
                    <a:lnTo>
                      <a:pt x="2117" y="627"/>
                    </a:lnTo>
                    <a:lnTo>
                      <a:pt x="2189" y="564"/>
                    </a:lnTo>
                    <a:lnTo>
                      <a:pt x="2260" y="502"/>
                    </a:lnTo>
                    <a:lnTo>
                      <a:pt x="2331" y="441"/>
                    </a:lnTo>
                    <a:lnTo>
                      <a:pt x="2402" y="383"/>
                    </a:lnTo>
                    <a:lnTo>
                      <a:pt x="2474" y="328"/>
                    </a:lnTo>
                    <a:lnTo>
                      <a:pt x="2544" y="274"/>
                    </a:lnTo>
                    <a:lnTo>
                      <a:pt x="2614" y="223"/>
                    </a:lnTo>
                    <a:lnTo>
                      <a:pt x="2685" y="175"/>
                    </a:lnTo>
                    <a:lnTo>
                      <a:pt x="2755" y="128"/>
                    </a:lnTo>
                    <a:lnTo>
                      <a:pt x="2825" y="83"/>
                    </a:lnTo>
                    <a:lnTo>
                      <a:pt x="2893" y="40"/>
                    </a:lnTo>
                    <a:lnTo>
                      <a:pt x="2963" y="0"/>
                    </a:lnTo>
                    <a:lnTo>
                      <a:pt x="2963" y="0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solidFill>
                  <a:srgbClr val="003300"/>
                </a:solidFill>
              </a:ln>
              <a:extLst/>
            </p:spPr>
            <p:txBody>
              <a:bodyPr vert="horz" wrap="square" lIns="93286" tIns="46643" rIns="93286" bIns="46643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" sz="1200" dirty="0">
                  <a:solidFill>
                    <a:srgbClr val="FFFFFF">
                      <a:lumMod val="50000"/>
                    </a:srgbClr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97" name="dtable170554751157760 10 144 283 167 68"/>
              <p:cNvSpPr txBox="1">
                <a:spLocks noChangeArrowheads="1"/>
              </p:cNvSpPr>
              <p:nvPr/>
            </p:nvSpPr>
            <p:spPr bwMode="gray">
              <a:xfrm>
                <a:off x="7121742" y="408549"/>
                <a:ext cx="720000" cy="1384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lvl="1" algn="l" rtl="0">
                  <a:spcBef>
                    <a:spcPts val="400"/>
                  </a:spcBef>
                  <a:spcAft>
                    <a:spcPts val="400"/>
                  </a:spcAft>
                  <a:buClr>
                    <a:srgbClr val="000000"/>
                  </a:buClr>
                  <a:buFont typeface="Arial" charset="0"/>
                  <a:buNone/>
                </a:pPr>
                <a:r>
                  <a:rPr lang="ru-RU" sz="900" b="0" i="1" u="none" baseline="0">
                    <a:solidFill>
                      <a:srgbClr val="000000"/>
                    </a:solidFill>
                    <a:latin typeface="Arial"/>
                    <a:cs typeface="Arial"/>
                  </a:rPr>
                  <a:t>Завершено</a:t>
                </a:r>
                <a:endParaRPr lang="ru" sz="900" i="1" dirty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4" name="Group 99"/>
            <p:cNvGrpSpPr/>
            <p:nvPr/>
          </p:nvGrpSpPr>
          <p:grpSpPr>
            <a:xfrm>
              <a:off x="7772400" y="394648"/>
              <a:ext cx="876000" cy="152400"/>
              <a:chOff x="8103342" y="390644"/>
              <a:chExt cx="876000" cy="152400"/>
            </a:xfrm>
          </p:grpSpPr>
          <p:sp>
            <p:nvSpPr>
              <p:cNvPr id="96" name="Freeform 99"/>
              <p:cNvSpPr>
                <a:spLocks noChangeAspect="1"/>
              </p:cNvSpPr>
              <p:nvPr/>
            </p:nvSpPr>
            <p:spPr bwMode="auto">
              <a:xfrm>
                <a:off x="8103342" y="390644"/>
                <a:ext cx="144000" cy="136602"/>
              </a:xfrm>
              <a:custGeom>
                <a:avLst/>
                <a:gdLst>
                  <a:gd name="T0" fmla="*/ 3040 w 3040"/>
                  <a:gd name="T1" fmla="*/ 109 h 2884"/>
                  <a:gd name="T2" fmla="*/ 2860 w 3040"/>
                  <a:gd name="T3" fmla="*/ 256 h 2884"/>
                  <a:gd name="T4" fmla="*/ 2673 w 3040"/>
                  <a:gd name="T5" fmla="*/ 428 h 2884"/>
                  <a:gd name="T6" fmla="*/ 2479 w 3040"/>
                  <a:gd name="T7" fmla="*/ 627 h 2884"/>
                  <a:gd name="T8" fmla="*/ 2277 w 3040"/>
                  <a:gd name="T9" fmla="*/ 853 h 2884"/>
                  <a:gd name="T10" fmla="*/ 2067 w 3040"/>
                  <a:gd name="T11" fmla="*/ 1106 h 2884"/>
                  <a:gd name="T12" fmla="*/ 1926 w 3040"/>
                  <a:gd name="T13" fmla="*/ 1287 h 2884"/>
                  <a:gd name="T14" fmla="*/ 1727 w 3040"/>
                  <a:gd name="T15" fmla="*/ 1556 h 2884"/>
                  <a:gd name="T16" fmla="*/ 1546 w 3040"/>
                  <a:gd name="T17" fmla="*/ 1819 h 2884"/>
                  <a:gd name="T18" fmla="*/ 1385 w 3040"/>
                  <a:gd name="T19" fmla="*/ 2076 h 2884"/>
                  <a:gd name="T20" fmla="*/ 1243 w 3040"/>
                  <a:gd name="T21" fmla="*/ 2324 h 2884"/>
                  <a:gd name="T22" fmla="*/ 1120 w 3040"/>
                  <a:gd name="T23" fmla="*/ 2567 h 2884"/>
                  <a:gd name="T24" fmla="*/ 865 w 3040"/>
                  <a:gd name="T25" fmla="*/ 2741 h 2884"/>
                  <a:gd name="T26" fmla="*/ 704 w 3040"/>
                  <a:gd name="T27" fmla="*/ 2867 h 2884"/>
                  <a:gd name="T28" fmla="*/ 675 w 3040"/>
                  <a:gd name="T29" fmla="*/ 2856 h 2884"/>
                  <a:gd name="T30" fmla="*/ 603 w 3040"/>
                  <a:gd name="T31" fmla="*/ 2655 h 2884"/>
                  <a:gd name="T32" fmla="*/ 498 w 3040"/>
                  <a:gd name="T33" fmla="*/ 2404 h 2884"/>
                  <a:gd name="T34" fmla="*/ 401 w 3040"/>
                  <a:gd name="T35" fmla="*/ 2197 h 2884"/>
                  <a:gd name="T36" fmla="*/ 311 w 3040"/>
                  <a:gd name="T37" fmla="*/ 2034 h 2884"/>
                  <a:gd name="T38" fmla="*/ 253 w 3040"/>
                  <a:gd name="T39" fmla="*/ 1950 h 2884"/>
                  <a:gd name="T40" fmla="*/ 164 w 3040"/>
                  <a:gd name="T41" fmla="*/ 1855 h 2884"/>
                  <a:gd name="T42" fmla="*/ 69 w 3040"/>
                  <a:gd name="T43" fmla="*/ 1786 h 2884"/>
                  <a:gd name="T44" fmla="*/ 0 w 3040"/>
                  <a:gd name="T45" fmla="*/ 1757 h 2884"/>
                  <a:gd name="T46" fmla="*/ 87 w 3040"/>
                  <a:gd name="T47" fmla="*/ 1672 h 2884"/>
                  <a:gd name="T48" fmla="*/ 172 w 3040"/>
                  <a:gd name="T49" fmla="*/ 1605 h 2884"/>
                  <a:gd name="T50" fmla="*/ 254 w 3040"/>
                  <a:gd name="T51" fmla="*/ 1555 h 2884"/>
                  <a:gd name="T52" fmla="*/ 332 w 3040"/>
                  <a:gd name="T53" fmla="*/ 1523 h 2884"/>
                  <a:gd name="T54" fmla="*/ 409 w 3040"/>
                  <a:gd name="T55" fmla="*/ 1508 h 2884"/>
                  <a:gd name="T56" fmla="*/ 444 w 3040"/>
                  <a:gd name="T57" fmla="*/ 1507 h 2884"/>
                  <a:gd name="T58" fmla="*/ 476 w 3040"/>
                  <a:gd name="T59" fmla="*/ 1513 h 2884"/>
                  <a:gd name="T60" fmla="*/ 543 w 3040"/>
                  <a:gd name="T61" fmla="*/ 1551 h 2884"/>
                  <a:gd name="T62" fmla="*/ 612 w 3040"/>
                  <a:gd name="T63" fmla="*/ 1621 h 2884"/>
                  <a:gd name="T64" fmla="*/ 683 w 3040"/>
                  <a:gd name="T65" fmla="*/ 1723 h 2884"/>
                  <a:gd name="T66" fmla="*/ 757 w 3040"/>
                  <a:gd name="T67" fmla="*/ 1858 h 2884"/>
                  <a:gd name="T68" fmla="*/ 877 w 3040"/>
                  <a:gd name="T69" fmla="*/ 2117 h 2884"/>
                  <a:gd name="T70" fmla="*/ 973 w 3040"/>
                  <a:gd name="T71" fmla="*/ 1963 h 2884"/>
                  <a:gd name="T72" fmla="*/ 1129 w 3040"/>
                  <a:gd name="T73" fmla="*/ 1731 h 2884"/>
                  <a:gd name="T74" fmla="*/ 1299 w 3040"/>
                  <a:gd name="T75" fmla="*/ 1503 h 2884"/>
                  <a:gd name="T76" fmla="*/ 1485 w 3040"/>
                  <a:gd name="T77" fmla="*/ 1277 h 2884"/>
                  <a:gd name="T78" fmla="*/ 1685 w 3040"/>
                  <a:gd name="T79" fmla="*/ 1052 h 2884"/>
                  <a:gd name="T80" fmla="*/ 1828 w 3040"/>
                  <a:gd name="T81" fmla="*/ 904 h 2884"/>
                  <a:gd name="T82" fmla="*/ 2045 w 3040"/>
                  <a:gd name="T83" fmla="*/ 693 h 2884"/>
                  <a:gd name="T84" fmla="*/ 2260 w 3040"/>
                  <a:gd name="T85" fmla="*/ 502 h 2884"/>
                  <a:gd name="T86" fmla="*/ 2474 w 3040"/>
                  <a:gd name="T87" fmla="*/ 328 h 2884"/>
                  <a:gd name="T88" fmla="*/ 2685 w 3040"/>
                  <a:gd name="T89" fmla="*/ 175 h 2884"/>
                  <a:gd name="T90" fmla="*/ 2893 w 3040"/>
                  <a:gd name="T91" fmla="*/ 40 h 2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40" h="2884">
                    <a:moveTo>
                      <a:pt x="2963" y="0"/>
                    </a:moveTo>
                    <a:lnTo>
                      <a:pt x="3040" y="109"/>
                    </a:lnTo>
                    <a:lnTo>
                      <a:pt x="3040" y="109"/>
                    </a:lnTo>
                    <a:lnTo>
                      <a:pt x="2981" y="155"/>
                    </a:lnTo>
                    <a:lnTo>
                      <a:pt x="2922" y="203"/>
                    </a:lnTo>
                    <a:lnTo>
                      <a:pt x="2860" y="256"/>
                    </a:lnTo>
                    <a:lnTo>
                      <a:pt x="2799" y="309"/>
                    </a:lnTo>
                    <a:lnTo>
                      <a:pt x="2736" y="367"/>
                    </a:lnTo>
                    <a:lnTo>
                      <a:pt x="2673" y="428"/>
                    </a:lnTo>
                    <a:lnTo>
                      <a:pt x="2610" y="491"/>
                    </a:lnTo>
                    <a:lnTo>
                      <a:pt x="2545" y="557"/>
                    </a:lnTo>
                    <a:lnTo>
                      <a:pt x="2479" y="627"/>
                    </a:lnTo>
                    <a:lnTo>
                      <a:pt x="2413" y="699"/>
                    </a:lnTo>
                    <a:lnTo>
                      <a:pt x="2346" y="775"/>
                    </a:lnTo>
                    <a:lnTo>
                      <a:pt x="2277" y="853"/>
                    </a:lnTo>
                    <a:lnTo>
                      <a:pt x="2209" y="934"/>
                    </a:lnTo>
                    <a:lnTo>
                      <a:pt x="2139" y="1018"/>
                    </a:lnTo>
                    <a:lnTo>
                      <a:pt x="2067" y="1106"/>
                    </a:lnTo>
                    <a:lnTo>
                      <a:pt x="1996" y="1196"/>
                    </a:lnTo>
                    <a:lnTo>
                      <a:pt x="1996" y="1196"/>
                    </a:lnTo>
                    <a:lnTo>
                      <a:pt x="1926" y="1287"/>
                    </a:lnTo>
                    <a:lnTo>
                      <a:pt x="1858" y="1377"/>
                    </a:lnTo>
                    <a:lnTo>
                      <a:pt x="1790" y="1468"/>
                    </a:lnTo>
                    <a:lnTo>
                      <a:pt x="1727" y="1556"/>
                    </a:lnTo>
                    <a:lnTo>
                      <a:pt x="1664" y="1645"/>
                    </a:lnTo>
                    <a:lnTo>
                      <a:pt x="1605" y="1733"/>
                    </a:lnTo>
                    <a:lnTo>
                      <a:pt x="1546" y="1819"/>
                    </a:lnTo>
                    <a:lnTo>
                      <a:pt x="1490" y="1905"/>
                    </a:lnTo>
                    <a:lnTo>
                      <a:pt x="1437" y="1991"/>
                    </a:lnTo>
                    <a:lnTo>
                      <a:pt x="1385" y="2076"/>
                    </a:lnTo>
                    <a:lnTo>
                      <a:pt x="1336" y="2159"/>
                    </a:lnTo>
                    <a:lnTo>
                      <a:pt x="1289" y="2242"/>
                    </a:lnTo>
                    <a:lnTo>
                      <a:pt x="1243" y="2324"/>
                    </a:lnTo>
                    <a:lnTo>
                      <a:pt x="1200" y="2405"/>
                    </a:lnTo>
                    <a:lnTo>
                      <a:pt x="1160" y="2486"/>
                    </a:lnTo>
                    <a:lnTo>
                      <a:pt x="1120" y="2567"/>
                    </a:lnTo>
                    <a:lnTo>
                      <a:pt x="958" y="2676"/>
                    </a:lnTo>
                    <a:lnTo>
                      <a:pt x="958" y="2676"/>
                    </a:lnTo>
                    <a:lnTo>
                      <a:pt x="865" y="2741"/>
                    </a:lnTo>
                    <a:lnTo>
                      <a:pt x="788" y="2798"/>
                    </a:lnTo>
                    <a:lnTo>
                      <a:pt x="728" y="2845"/>
                    </a:lnTo>
                    <a:lnTo>
                      <a:pt x="704" y="2867"/>
                    </a:lnTo>
                    <a:lnTo>
                      <a:pt x="683" y="2884"/>
                    </a:lnTo>
                    <a:lnTo>
                      <a:pt x="683" y="2884"/>
                    </a:lnTo>
                    <a:lnTo>
                      <a:pt x="675" y="2856"/>
                    </a:lnTo>
                    <a:lnTo>
                      <a:pt x="666" y="2825"/>
                    </a:lnTo>
                    <a:lnTo>
                      <a:pt x="639" y="2748"/>
                    </a:lnTo>
                    <a:lnTo>
                      <a:pt x="603" y="2655"/>
                    </a:lnTo>
                    <a:lnTo>
                      <a:pt x="560" y="2546"/>
                    </a:lnTo>
                    <a:lnTo>
                      <a:pt x="498" y="2404"/>
                    </a:lnTo>
                    <a:lnTo>
                      <a:pt x="498" y="2404"/>
                    </a:lnTo>
                    <a:lnTo>
                      <a:pt x="465" y="2330"/>
                    </a:lnTo>
                    <a:lnTo>
                      <a:pt x="433" y="2261"/>
                    </a:lnTo>
                    <a:lnTo>
                      <a:pt x="401" y="2197"/>
                    </a:lnTo>
                    <a:lnTo>
                      <a:pt x="371" y="2137"/>
                    </a:lnTo>
                    <a:lnTo>
                      <a:pt x="340" y="2084"/>
                    </a:lnTo>
                    <a:lnTo>
                      <a:pt x="311" y="2034"/>
                    </a:lnTo>
                    <a:lnTo>
                      <a:pt x="281" y="1991"/>
                    </a:lnTo>
                    <a:lnTo>
                      <a:pt x="253" y="1950"/>
                    </a:lnTo>
                    <a:lnTo>
                      <a:pt x="253" y="1950"/>
                    </a:lnTo>
                    <a:lnTo>
                      <a:pt x="225" y="1915"/>
                    </a:lnTo>
                    <a:lnTo>
                      <a:pt x="195" y="1885"/>
                    </a:lnTo>
                    <a:lnTo>
                      <a:pt x="164" y="1855"/>
                    </a:lnTo>
                    <a:lnTo>
                      <a:pt x="133" y="1829"/>
                    </a:lnTo>
                    <a:lnTo>
                      <a:pt x="101" y="1807"/>
                    </a:lnTo>
                    <a:lnTo>
                      <a:pt x="69" y="1786"/>
                    </a:lnTo>
                    <a:lnTo>
                      <a:pt x="35" y="1770"/>
                    </a:lnTo>
                    <a:lnTo>
                      <a:pt x="0" y="1757"/>
                    </a:lnTo>
                    <a:lnTo>
                      <a:pt x="0" y="1757"/>
                    </a:lnTo>
                    <a:lnTo>
                      <a:pt x="30" y="1726"/>
                    </a:lnTo>
                    <a:lnTo>
                      <a:pt x="59" y="1698"/>
                    </a:lnTo>
                    <a:lnTo>
                      <a:pt x="87" y="1672"/>
                    </a:lnTo>
                    <a:lnTo>
                      <a:pt x="116" y="1646"/>
                    </a:lnTo>
                    <a:lnTo>
                      <a:pt x="144" y="1625"/>
                    </a:lnTo>
                    <a:lnTo>
                      <a:pt x="172" y="1605"/>
                    </a:lnTo>
                    <a:lnTo>
                      <a:pt x="199" y="1586"/>
                    </a:lnTo>
                    <a:lnTo>
                      <a:pt x="227" y="1568"/>
                    </a:lnTo>
                    <a:lnTo>
                      <a:pt x="254" y="1555"/>
                    </a:lnTo>
                    <a:lnTo>
                      <a:pt x="281" y="1542"/>
                    </a:lnTo>
                    <a:lnTo>
                      <a:pt x="307" y="1531"/>
                    </a:lnTo>
                    <a:lnTo>
                      <a:pt x="332" y="1523"/>
                    </a:lnTo>
                    <a:lnTo>
                      <a:pt x="359" y="1516"/>
                    </a:lnTo>
                    <a:lnTo>
                      <a:pt x="385" y="1511"/>
                    </a:lnTo>
                    <a:lnTo>
                      <a:pt x="409" y="1508"/>
                    </a:lnTo>
                    <a:lnTo>
                      <a:pt x="434" y="1507"/>
                    </a:lnTo>
                    <a:lnTo>
                      <a:pt x="434" y="1507"/>
                    </a:lnTo>
                    <a:lnTo>
                      <a:pt x="444" y="1507"/>
                    </a:lnTo>
                    <a:lnTo>
                      <a:pt x="455" y="1508"/>
                    </a:lnTo>
                    <a:lnTo>
                      <a:pt x="465" y="1511"/>
                    </a:lnTo>
                    <a:lnTo>
                      <a:pt x="476" y="1513"/>
                    </a:lnTo>
                    <a:lnTo>
                      <a:pt x="499" y="1523"/>
                    </a:lnTo>
                    <a:lnTo>
                      <a:pt x="521" y="1535"/>
                    </a:lnTo>
                    <a:lnTo>
                      <a:pt x="543" y="1551"/>
                    </a:lnTo>
                    <a:lnTo>
                      <a:pt x="566" y="1571"/>
                    </a:lnTo>
                    <a:lnTo>
                      <a:pt x="589" y="1594"/>
                    </a:lnTo>
                    <a:lnTo>
                      <a:pt x="612" y="1621"/>
                    </a:lnTo>
                    <a:lnTo>
                      <a:pt x="636" y="1652"/>
                    </a:lnTo>
                    <a:lnTo>
                      <a:pt x="659" y="1685"/>
                    </a:lnTo>
                    <a:lnTo>
                      <a:pt x="683" y="1723"/>
                    </a:lnTo>
                    <a:lnTo>
                      <a:pt x="708" y="1763"/>
                    </a:lnTo>
                    <a:lnTo>
                      <a:pt x="733" y="1809"/>
                    </a:lnTo>
                    <a:lnTo>
                      <a:pt x="757" y="1858"/>
                    </a:lnTo>
                    <a:lnTo>
                      <a:pt x="783" y="1909"/>
                    </a:lnTo>
                    <a:lnTo>
                      <a:pt x="808" y="1964"/>
                    </a:lnTo>
                    <a:lnTo>
                      <a:pt x="877" y="2117"/>
                    </a:lnTo>
                    <a:lnTo>
                      <a:pt x="877" y="2117"/>
                    </a:lnTo>
                    <a:lnTo>
                      <a:pt x="924" y="2039"/>
                    </a:lnTo>
                    <a:lnTo>
                      <a:pt x="973" y="1963"/>
                    </a:lnTo>
                    <a:lnTo>
                      <a:pt x="1024" y="1885"/>
                    </a:lnTo>
                    <a:lnTo>
                      <a:pt x="1075" y="1808"/>
                    </a:lnTo>
                    <a:lnTo>
                      <a:pt x="1129" y="1731"/>
                    </a:lnTo>
                    <a:lnTo>
                      <a:pt x="1184" y="1655"/>
                    </a:lnTo>
                    <a:lnTo>
                      <a:pt x="1242" y="1578"/>
                    </a:lnTo>
                    <a:lnTo>
                      <a:pt x="1299" y="1503"/>
                    </a:lnTo>
                    <a:lnTo>
                      <a:pt x="1360" y="1427"/>
                    </a:lnTo>
                    <a:lnTo>
                      <a:pt x="1422" y="1351"/>
                    </a:lnTo>
                    <a:lnTo>
                      <a:pt x="1485" y="1277"/>
                    </a:lnTo>
                    <a:lnTo>
                      <a:pt x="1551" y="1201"/>
                    </a:lnTo>
                    <a:lnTo>
                      <a:pt x="1618" y="1127"/>
                    </a:lnTo>
                    <a:lnTo>
                      <a:pt x="1685" y="1052"/>
                    </a:lnTo>
                    <a:lnTo>
                      <a:pt x="1757" y="978"/>
                    </a:lnTo>
                    <a:lnTo>
                      <a:pt x="1828" y="904"/>
                    </a:lnTo>
                    <a:lnTo>
                      <a:pt x="1828" y="904"/>
                    </a:lnTo>
                    <a:lnTo>
                      <a:pt x="1901" y="831"/>
                    </a:lnTo>
                    <a:lnTo>
                      <a:pt x="1973" y="761"/>
                    </a:lnTo>
                    <a:lnTo>
                      <a:pt x="2045" y="693"/>
                    </a:lnTo>
                    <a:lnTo>
                      <a:pt x="2117" y="627"/>
                    </a:lnTo>
                    <a:lnTo>
                      <a:pt x="2189" y="564"/>
                    </a:lnTo>
                    <a:lnTo>
                      <a:pt x="2260" y="502"/>
                    </a:lnTo>
                    <a:lnTo>
                      <a:pt x="2331" y="441"/>
                    </a:lnTo>
                    <a:lnTo>
                      <a:pt x="2402" y="383"/>
                    </a:lnTo>
                    <a:lnTo>
                      <a:pt x="2474" y="328"/>
                    </a:lnTo>
                    <a:lnTo>
                      <a:pt x="2544" y="274"/>
                    </a:lnTo>
                    <a:lnTo>
                      <a:pt x="2614" y="223"/>
                    </a:lnTo>
                    <a:lnTo>
                      <a:pt x="2685" y="175"/>
                    </a:lnTo>
                    <a:lnTo>
                      <a:pt x="2755" y="128"/>
                    </a:lnTo>
                    <a:lnTo>
                      <a:pt x="2825" y="83"/>
                    </a:lnTo>
                    <a:lnTo>
                      <a:pt x="2893" y="40"/>
                    </a:lnTo>
                    <a:lnTo>
                      <a:pt x="2963" y="0"/>
                    </a:lnTo>
                    <a:lnTo>
                      <a:pt x="2963" y="0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solidFill>
                  <a:srgbClr val="FF0000"/>
                </a:solidFill>
              </a:ln>
              <a:extLst/>
            </p:spPr>
            <p:txBody>
              <a:bodyPr vert="horz" wrap="square" lIns="93286" tIns="46643" rIns="93286" bIns="46643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" sz="1200" dirty="0">
                  <a:solidFill>
                    <a:srgbClr val="660066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98" name="dtable170554751157760 10 144 283 167 68"/>
              <p:cNvSpPr txBox="1">
                <a:spLocks noChangeArrowheads="1"/>
              </p:cNvSpPr>
              <p:nvPr/>
            </p:nvSpPr>
            <p:spPr bwMode="gray">
              <a:xfrm>
                <a:off x="8259342" y="404545"/>
                <a:ext cx="720000" cy="1384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lvl="1" algn="l" rtl="0">
                  <a:spcBef>
                    <a:spcPts val="400"/>
                  </a:spcBef>
                  <a:spcAft>
                    <a:spcPts val="400"/>
                  </a:spcAft>
                  <a:buClr>
                    <a:srgbClr val="000000"/>
                  </a:buClr>
                  <a:buFont typeface="Arial" charset="0"/>
                  <a:buNone/>
                </a:pPr>
                <a:r>
                  <a:rPr lang="ru-RU" sz="900" b="0" i="1" u="none" baseline="0">
                    <a:solidFill>
                      <a:srgbClr val="000000"/>
                    </a:solidFill>
                    <a:latin typeface="Arial"/>
                    <a:cs typeface="Arial"/>
                  </a:rPr>
                  <a:t>В процессе</a:t>
                </a:r>
                <a:endParaRPr lang="ru" sz="900" i="1" dirty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102" name="Rectangle 5"/>
            <p:cNvSpPr txBox="1"/>
            <p:nvPr/>
          </p:nvSpPr>
          <p:spPr>
            <a:xfrm>
              <a:off x="4724684" y="332096"/>
              <a:ext cx="2129116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l" rtl="0" fontAlgn="base">
                <a:spcBef>
                  <a:spcPct val="0"/>
                </a:spcBef>
                <a:spcAft>
                  <a:spcPct val="0"/>
                </a:spcAft>
                <a:buClr>
                  <a:srgbClr val="204024"/>
                </a:buClr>
              </a:pPr>
              <a:r>
                <a:rPr lang="ru-RU" sz="1000" b="0" i="0" u="none" baseline="0" dirty="0">
                  <a:solidFill>
                    <a:srgbClr val="000000"/>
                  </a:solidFill>
                  <a:latin typeface="Arial"/>
                  <a:cs typeface="Arial"/>
                </a:rPr>
                <a:t>Цветовой код проверки статуса:</a:t>
              </a:r>
              <a:endParaRPr lang="ru" sz="100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</p:grpSp>
      <p:sp>
        <p:nvSpPr>
          <p:cNvPr id="78" name="Freeform 99"/>
          <p:cNvSpPr>
            <a:spLocks noChangeAspect="1"/>
          </p:cNvSpPr>
          <p:nvPr>
            <p:custDataLst>
              <p:tags r:id="rId18"/>
            </p:custDataLst>
          </p:nvPr>
        </p:nvSpPr>
        <p:spPr bwMode="auto">
          <a:xfrm>
            <a:off x="8561400" y="3122674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pPr algn="r"/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5" name="Freeform 99"/>
          <p:cNvSpPr>
            <a:spLocks noChangeAspect="1"/>
          </p:cNvSpPr>
          <p:nvPr>
            <p:custDataLst>
              <p:tags r:id="rId19"/>
            </p:custDataLst>
          </p:nvPr>
        </p:nvSpPr>
        <p:spPr bwMode="auto">
          <a:xfrm>
            <a:off x="8561400" y="2368336"/>
            <a:ext cx="227698" cy="216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pPr algn="r"/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438400" y="5257800"/>
            <a:ext cx="5835884" cy="1115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/>
              <a:t>Размещение Отделом поставок (SD) заказов на покупку</a:t>
            </a:r>
          </a:p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Заключение Отделом поставок (SD) контракта с местным поставщиком на мониторинг и оценку третьей стороной</a:t>
            </a:r>
            <a:endParaRPr lang="ru" sz="1100" dirty="0" smtClean="0"/>
          </a:p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 smtClean="0">
                <a:solidFill>
                  <a:srgbClr val="000000"/>
                </a:solidFill>
                <a:ea typeface="ＭＳ Ｐゴシック"/>
              </a:rPr>
              <a:t>Отслеживание </a:t>
            </a: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доставки и установки Отделом поставок (SD)/руководителем (CO)</a:t>
            </a:r>
          </a:p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Утверждение руководителем (CO) счетов и отправка их на </a:t>
            </a:r>
            <a:r>
              <a:rPr lang="ru-RU" sz="1100" b="0" i="0" u="none" baseline="0" dirty="0" smtClean="0">
                <a:solidFill>
                  <a:srgbClr val="000000"/>
                </a:solidFill>
                <a:ea typeface="ＭＳ Ｐゴシック"/>
              </a:rPr>
              <a:t>оплату</a:t>
            </a:r>
            <a:endParaRPr lang="ru-RU" sz="1100" b="0" i="0" u="none" baseline="0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03" name="Freeform 99"/>
          <p:cNvSpPr>
            <a:spLocks noChangeAspect="1"/>
          </p:cNvSpPr>
          <p:nvPr>
            <p:custDataLst>
              <p:tags r:id="rId20"/>
            </p:custDataLst>
          </p:nvPr>
        </p:nvSpPr>
        <p:spPr bwMode="auto">
          <a:xfrm>
            <a:off x="8561400" y="5381343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pPr algn="r"/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4" name="Freeform 99"/>
          <p:cNvSpPr>
            <a:spLocks noChangeAspect="1"/>
          </p:cNvSpPr>
          <p:nvPr>
            <p:custDataLst>
              <p:tags r:id="rId21"/>
            </p:custDataLst>
          </p:nvPr>
        </p:nvSpPr>
        <p:spPr bwMode="auto">
          <a:xfrm>
            <a:off x="8561400" y="5621785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pPr algn="r"/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5" name="Freeform 99"/>
          <p:cNvSpPr>
            <a:spLocks noChangeAspect="1"/>
          </p:cNvSpPr>
          <p:nvPr>
            <p:custDataLst>
              <p:tags r:id="rId22"/>
            </p:custDataLst>
          </p:nvPr>
        </p:nvSpPr>
        <p:spPr bwMode="auto">
          <a:xfrm>
            <a:off x="8561400" y="5867400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pPr algn="r"/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6" name="Freeform 99"/>
          <p:cNvSpPr>
            <a:spLocks noChangeAspect="1"/>
          </p:cNvSpPr>
          <p:nvPr>
            <p:custDataLst>
              <p:tags r:id="rId23"/>
            </p:custDataLst>
          </p:nvPr>
        </p:nvSpPr>
        <p:spPr bwMode="auto">
          <a:xfrm>
            <a:off x="8561400" y="6096000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pPr algn="r"/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50" name="Picture 49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2743200" y="1179500"/>
            <a:ext cx="6097969" cy="81036"/>
          </a:xfrm>
          <a:prstGeom prst="rect">
            <a:avLst/>
          </a:prstGeom>
        </p:spPr>
      </p:pic>
      <p:pic>
        <p:nvPicPr>
          <p:cNvPr id="52" name="Picture 51"/>
          <p:cNvPicPr>
            <a:picLocks/>
          </p:cNvPicPr>
          <p:nvPr/>
        </p:nvPicPr>
        <p:blipFill>
          <a:blip r:embed="rId29">
            <a:alphaModFix amt="66000"/>
          </a:blip>
          <a:stretch>
            <a:fillRect/>
          </a:stretch>
        </p:blipFill>
        <p:spPr>
          <a:xfrm>
            <a:off x="2743200" y="2789380"/>
            <a:ext cx="6097969" cy="27432"/>
          </a:xfrm>
          <a:prstGeom prst="rect">
            <a:avLst/>
          </a:prstGeom>
          <a:ln>
            <a:solidFill>
              <a:srgbClr val="F5FBBC"/>
            </a:solidFill>
          </a:ln>
        </p:spPr>
      </p:pic>
      <p:pic>
        <p:nvPicPr>
          <p:cNvPr id="53" name="Picture 52"/>
          <p:cNvPicPr>
            <a:picLocks/>
          </p:cNvPicPr>
          <p:nvPr/>
        </p:nvPicPr>
        <p:blipFill>
          <a:blip r:embed="rId29">
            <a:alphaModFix amt="66000"/>
          </a:blip>
          <a:stretch>
            <a:fillRect/>
          </a:stretch>
        </p:blipFill>
        <p:spPr>
          <a:xfrm>
            <a:off x="2743200" y="5230368"/>
            <a:ext cx="6097969" cy="27432"/>
          </a:xfrm>
          <a:prstGeom prst="rect">
            <a:avLst/>
          </a:prstGeom>
          <a:ln>
            <a:solidFill>
              <a:srgbClr val="F5FBBC"/>
            </a:solidFill>
          </a:ln>
        </p:spPr>
      </p:pic>
      <p:sp>
        <p:nvSpPr>
          <p:cNvPr id="43" name="Rectangle 6"/>
          <p:cNvSpPr txBox="1">
            <a:spLocks/>
          </p:cNvSpPr>
          <p:nvPr/>
        </p:nvSpPr>
        <p:spPr>
          <a:xfrm>
            <a:off x="534780" y="1225161"/>
            <a:ext cx="1903620" cy="984639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 defTabSz="914400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i="0" u="none" baseline="0">
                <a:solidFill>
                  <a:srgbClr val="1F1F1F"/>
                </a:solidFill>
                <a:cs typeface="Arial"/>
              </a:rPr>
              <a:t>Заявка и утверждение в рамках ПООХЦ </a:t>
            </a:r>
            <a:r>
              <a:rPr lang="ru-RU" sz="1400" b="1">
                <a:solidFill>
                  <a:srgbClr val="1F1F1F"/>
                </a:solidFill>
                <a:cs typeface="Arial"/>
              </a:rPr>
              <a:t/>
            </a:r>
            <a:br>
              <a:rPr lang="ru-RU" sz="1400" b="1">
                <a:solidFill>
                  <a:srgbClr val="1F1F1F"/>
                </a:solidFill>
                <a:cs typeface="Arial"/>
              </a:rPr>
            </a:br>
            <a:endParaRPr lang="ru-RU" sz="1400" b="1">
              <a:solidFill>
                <a:srgbClr val="1F1F1F"/>
              </a:solidFill>
              <a:cs typeface="Arial"/>
            </a:endParaRPr>
          </a:p>
          <a:p>
            <a:pPr marL="95250" algn="ctr" defTabSz="914400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ru" sz="1400" b="1" dirty="0">
              <a:solidFill>
                <a:srgbClr val="1F1F1F"/>
              </a:solidFill>
              <a:cs typeface="Arial"/>
            </a:endParaRPr>
          </a:p>
        </p:txBody>
      </p:sp>
      <p:sp>
        <p:nvSpPr>
          <p:cNvPr id="45" name="Rectangle 6"/>
          <p:cNvSpPr txBox="1">
            <a:spLocks/>
          </p:cNvSpPr>
          <p:nvPr/>
        </p:nvSpPr>
        <p:spPr>
          <a:xfrm>
            <a:off x="357910" y="1060362"/>
            <a:ext cx="355403" cy="337991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ru-RU" sz="1100" b="1" i="0" u="none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A</a:t>
            </a:r>
            <a:endParaRPr lang="ru" sz="1100" b="1" kern="1200" dirty="0" smtClean="0">
              <a:solidFill>
                <a:srgbClr val="1F1F1F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46" name="Rectangle 6"/>
          <p:cNvSpPr txBox="1">
            <a:spLocks/>
          </p:cNvSpPr>
          <p:nvPr/>
        </p:nvSpPr>
        <p:spPr>
          <a:xfrm>
            <a:off x="534780" y="2819400"/>
            <a:ext cx="1903620" cy="984639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 defTabSz="914400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i="0" u="none" baseline="0">
                <a:solidFill>
                  <a:srgbClr val="1F1F1F"/>
                </a:solidFill>
                <a:cs typeface="Arial"/>
              </a:rPr>
              <a:t>Планирование закупки </a:t>
            </a:r>
            <a:endParaRPr lang="ru" sz="1400" b="1" dirty="0" smtClean="0">
              <a:solidFill>
                <a:srgbClr val="1F1F1F"/>
              </a:solidFill>
              <a:cs typeface="Arial"/>
            </a:endParaRPr>
          </a:p>
          <a:p>
            <a:pPr marL="95250" algn="ctr" defTabSz="914400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ru" sz="1400" b="1" dirty="0">
              <a:solidFill>
                <a:srgbClr val="1F1F1F"/>
              </a:solidFill>
              <a:cs typeface="Arial"/>
            </a:endParaRPr>
          </a:p>
        </p:txBody>
      </p:sp>
      <p:sp>
        <p:nvSpPr>
          <p:cNvPr id="47" name="Rectangle 6"/>
          <p:cNvSpPr txBox="1">
            <a:spLocks/>
          </p:cNvSpPr>
          <p:nvPr/>
        </p:nvSpPr>
        <p:spPr>
          <a:xfrm>
            <a:off x="357910" y="2654601"/>
            <a:ext cx="355403" cy="337991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ru-RU" sz="1100" b="1" i="0" u="none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B</a:t>
            </a:r>
            <a:endParaRPr lang="ru" sz="1100" b="1" kern="1200" dirty="0" smtClean="0">
              <a:solidFill>
                <a:srgbClr val="1F1F1F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49" name="Rectangle 6"/>
          <p:cNvSpPr txBox="1">
            <a:spLocks/>
          </p:cNvSpPr>
          <p:nvPr/>
        </p:nvSpPr>
        <p:spPr>
          <a:xfrm>
            <a:off x="534780" y="5212088"/>
            <a:ext cx="1903620" cy="984639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 defTabSz="914400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i="0" u="none" baseline="0">
                <a:solidFill>
                  <a:srgbClr val="1F1F1F"/>
                </a:solidFill>
                <a:cs typeface="Arial"/>
              </a:rPr>
              <a:t>Планирование закупки </a:t>
            </a:r>
            <a:endParaRPr lang="ru" sz="1400" b="1" dirty="0" smtClean="0">
              <a:solidFill>
                <a:srgbClr val="1F1F1F"/>
              </a:solidFill>
              <a:cs typeface="Arial"/>
            </a:endParaRPr>
          </a:p>
          <a:p>
            <a:pPr marL="95250" algn="ctr" defTabSz="914400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ru" sz="1400" b="1" dirty="0">
              <a:solidFill>
                <a:srgbClr val="1F1F1F"/>
              </a:solidFill>
              <a:cs typeface="Arial"/>
            </a:endParaRPr>
          </a:p>
        </p:txBody>
      </p:sp>
      <p:sp>
        <p:nvSpPr>
          <p:cNvPr id="51" name="Rectangle 6"/>
          <p:cNvSpPr txBox="1">
            <a:spLocks/>
          </p:cNvSpPr>
          <p:nvPr/>
        </p:nvSpPr>
        <p:spPr>
          <a:xfrm>
            <a:off x="357910" y="5047289"/>
            <a:ext cx="355403" cy="337991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ru-RU" sz="1100" b="1" i="0" u="none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C</a:t>
            </a:r>
            <a:endParaRPr lang="ru" sz="1100" b="1" kern="1200" dirty="0" smtClean="0">
              <a:solidFill>
                <a:srgbClr val="1F1F1F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54" name="Rectangle 53"/>
          <p:cNvSpPr/>
          <p:nvPr/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 rtl="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ru" dirty="0" smtClean="0"/>
          </a:p>
        </p:txBody>
      </p:sp>
      <p:sp>
        <p:nvSpPr>
          <p:cNvPr id="55" name="Title 1"/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656182" y="106680"/>
            <a:ext cx="848781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defTabSz="911135" rtl="0" fontAlgn="base">
              <a:spcBef>
                <a:spcPct val="0"/>
              </a:spcBef>
              <a:spcAft>
                <a:spcPct val="0"/>
              </a:spcAft>
              <a:tabLst>
                <a:tab pos="368907" algn="l"/>
              </a:tabLst>
              <a:defRPr/>
            </a:pPr>
            <a:r>
              <a:rPr lang="ru-RU" sz="1400" b="1" i="0" u="none" baseline="0" dirty="0">
                <a:solidFill>
                  <a:schemeClr val="bg1"/>
                </a:solidFill>
                <a:latin typeface="Arial Narrow"/>
                <a:cs typeface="Arial Narrow"/>
              </a:rPr>
              <a:t>Краткий обзор заявки и реализации ПООХЦ</a:t>
            </a:r>
          </a:p>
        </p:txBody>
      </p:sp>
    </p:spTree>
    <p:extLst>
      <p:ext uri="{BB962C8B-B14F-4D97-AF65-F5344CB8AC3E}">
        <p14:creationId xmlns:p14="http://schemas.microsoft.com/office/powerpoint/2010/main" val="961238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/>
          </p:cNvGraphicFramePr>
          <p:nvPr/>
        </p:nvGraphicFramePr>
        <p:xfrm>
          <a:off x="158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594" name="think-cell Slide" r:id="rId27" imgW="360" imgH="360" progId="TCLayout.ActiveDocument.1">
                  <p:embed/>
                </p:oleObj>
              </mc:Choice>
              <mc:Fallback>
                <p:oleObj name="think-cell Slide" r:id="rId27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tangle 69" hidden="1"/>
          <p:cNvSpPr/>
          <p:nvPr>
            <p:custDataLst>
              <p:tags r:id="rId2"/>
            </p:custDataLst>
          </p:nvPr>
        </p:nvSpPr>
        <p:spPr bwMode="auto">
          <a:xfrm>
            <a:off x="0" y="2"/>
            <a:ext cx="292388" cy="276999"/>
          </a:xfrm>
          <a:prstGeom prst="rect">
            <a:avLst/>
          </a:prstGeom>
          <a:solidFill>
            <a:scrgbClr r="0" g="0" b="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ctr" defTabSz="787234" rtl="0">
              <a:spcBef>
                <a:spcPct val="0"/>
              </a:spcBef>
              <a:spcAft>
                <a:spcPct val="0"/>
              </a:spcAft>
              <a:buClr>
                <a:srgbClr val="204024"/>
              </a:buClr>
              <a:buSzPct val="125000"/>
            </a:pPr>
            <a:endParaRPr lang="ru" sz="14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42" name="Rectangle 1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438400" y="1324572"/>
            <a:ext cx="5714716" cy="14186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ru"/>
            </a:defPPr>
            <a:lvl1pPr algn="l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algn="l" defTabSz="895350">
              <a:spcBef>
                <a:spcPts val="500"/>
              </a:spcBef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Предварительная оценка ВОЗ</a:t>
            </a:r>
          </a:p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204024">
                    <a:lumMod val="50000"/>
                  </a:srgbClr>
                </a:solidFill>
              </a:rPr>
              <a:t>Оценка НКРЗ</a:t>
            </a:r>
          </a:p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204024">
                    <a:lumMod val="50000"/>
                  </a:srgbClr>
                </a:solidFill>
                <a:ea typeface="ＭＳ Ｐゴシック"/>
              </a:rPr>
              <a:t>Утверждение Советом Гави</a:t>
            </a: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 </a:t>
            </a:r>
          </a:p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Предоставление Гави письма-решения стране</a:t>
            </a:r>
          </a:p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Предоставление Гави утвержденного графика в Отдел поставок (SD) </a:t>
            </a:r>
            <a:r>
              <a:rPr lang="ru-RU" sz="1100" b="0" i="0" u="none" baseline="0" dirty="0" smtClean="0">
                <a:solidFill>
                  <a:srgbClr val="000000"/>
                </a:solidFill>
                <a:ea typeface="ＭＳ Ｐゴシック"/>
              </a:rPr>
              <a:t>ЮНИСЕФ</a:t>
            </a:r>
            <a:endParaRPr lang="ru" sz="1100" dirty="0" smtClean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65" name="Rectangle 1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438400" y="2635600"/>
            <a:ext cx="5876525" cy="246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ru"/>
            </a:defPPr>
            <a:lvl1pPr algn="l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algn="l" defTabSz="895350">
              <a:spcBef>
                <a:spcPts val="500"/>
              </a:spcBef>
              <a:buClr>
                <a:schemeClr val="tx2"/>
              </a:buClr>
              <a:buSzPct val="125000"/>
              <a:buFont typeface="Arial" charset="0"/>
              <a:buChar char="▪"/>
              <a:defRPr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1" dirty="0">
                <a:solidFill>
                  <a:srgbClr val="00589F"/>
                </a:solidFill>
                <a:ea typeface="ＭＳ Ｐゴシック"/>
              </a:rPr>
              <a:t>Предоставление Министерством здравоохранения плана оперативного развертывания Отделу поставок (SD) ЮНИСЕФ</a:t>
            </a:r>
          </a:p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Отдел поставок (SD) ЮНИСЕФ объявляет тендер на совокупность услуг и разрабатывает оцененный оперативный план</a:t>
            </a:r>
          </a:p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Утверждение Гави оцененного оперативного плана</a:t>
            </a:r>
          </a:p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Согласование оцененного оперативного плана с Министерством здравоохранения</a:t>
            </a:r>
          </a:p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Предоставление Отделом поставок (SD) ЮНИСЕФ сметы расходов (CE) Министерству здравоохранения</a:t>
            </a:r>
            <a:endParaRPr lang="ru" sz="1100" dirty="0" smtClean="0">
              <a:solidFill>
                <a:srgbClr val="000000"/>
              </a:solidFill>
              <a:ea typeface="ＭＳ Ｐゴシック"/>
            </a:endParaRPr>
          </a:p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Министерство здравоохранения принимает смету расходов (CE) и передает долю страны в совместных инвестициях Отделу поставок (SD) ЮНИСЕФ</a:t>
            </a:r>
          </a:p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Гави передает долю совместных инвестиций Отделу поставок (SD) </a:t>
            </a:r>
            <a:r>
              <a:rPr lang="ru-RU" sz="1100" b="0" i="0" u="none" baseline="0" dirty="0" smtClean="0">
                <a:solidFill>
                  <a:srgbClr val="000000"/>
                </a:solidFill>
                <a:ea typeface="ＭＳ Ｐゴシック"/>
              </a:rPr>
              <a:t>ЮНИСЕФ</a:t>
            </a:r>
          </a:p>
        </p:txBody>
      </p:sp>
      <p:sp>
        <p:nvSpPr>
          <p:cNvPr id="74" name="Rectangle 3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2825411" y="923180"/>
            <a:ext cx="3203506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lvl="0" algn="l" defTabSz="895350" eaLnBrk="1" hangingPunct="1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l" rtl="0" fontAlgn="base">
              <a:spcBef>
                <a:spcPct val="0"/>
              </a:spcBef>
              <a:spcAft>
                <a:spcPct val="0"/>
              </a:spcAft>
              <a:buClr>
                <a:srgbClr val="339966"/>
              </a:buClr>
            </a:pPr>
            <a:r>
              <a:rPr lang="ru-RU" sz="1300" b="1" i="0" u="none" baseline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Мероприятия</a:t>
            </a:r>
            <a:endParaRPr lang="ru" sz="1300" b="1" dirty="0">
              <a:solidFill>
                <a:srgbClr val="E0EDFD">
                  <a:lumMod val="10000"/>
                </a:srgbClr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75" name="Rectangle 3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7543800" y="923180"/>
            <a:ext cx="1116000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lvl="0" algn="l" defTabSz="895350" eaLnBrk="1" hangingPunct="1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l" rtl="0" fontAlgn="base">
              <a:spcBef>
                <a:spcPct val="0"/>
              </a:spcBef>
              <a:spcAft>
                <a:spcPct val="0"/>
              </a:spcAft>
              <a:buClr>
                <a:srgbClr val="339966"/>
              </a:buClr>
            </a:pPr>
            <a:r>
              <a:rPr lang="ru-RU" sz="1300" b="1" i="0" u="none" baseline="0" dirty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Проверка статуса</a:t>
            </a:r>
            <a:endParaRPr lang="ru" sz="1300" b="1" dirty="0">
              <a:solidFill>
                <a:srgbClr val="E0EDFD">
                  <a:lumMod val="10000"/>
                </a:srgbClr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76" name="Freeform 99"/>
          <p:cNvSpPr>
            <a:spLocks noChangeAspect="1"/>
          </p:cNvSpPr>
          <p:nvPr>
            <p:custDataLst>
              <p:tags r:id="rId7"/>
            </p:custDataLst>
          </p:nvPr>
        </p:nvSpPr>
        <p:spPr bwMode="auto">
          <a:xfrm>
            <a:off x="8535302" y="1612800"/>
            <a:ext cx="227698" cy="216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9" name="Freeform 99"/>
          <p:cNvSpPr>
            <a:spLocks noChangeAspect="1"/>
          </p:cNvSpPr>
          <p:nvPr>
            <p:custDataLst>
              <p:tags r:id="rId8"/>
            </p:custDataLst>
          </p:nvPr>
        </p:nvSpPr>
        <p:spPr bwMode="auto">
          <a:xfrm>
            <a:off x="8535302" y="1371600"/>
            <a:ext cx="227698" cy="216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0" name="Freeform 99"/>
          <p:cNvSpPr>
            <a:spLocks noChangeAspect="1"/>
          </p:cNvSpPr>
          <p:nvPr>
            <p:custDataLst>
              <p:tags r:id="rId9"/>
            </p:custDataLst>
          </p:nvPr>
        </p:nvSpPr>
        <p:spPr bwMode="auto">
          <a:xfrm>
            <a:off x="8535302" y="1840774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2" name="Freeform 99"/>
          <p:cNvSpPr>
            <a:spLocks noChangeAspect="1"/>
          </p:cNvSpPr>
          <p:nvPr>
            <p:custDataLst>
              <p:tags r:id="rId10"/>
            </p:custDataLst>
          </p:nvPr>
        </p:nvSpPr>
        <p:spPr bwMode="auto">
          <a:xfrm>
            <a:off x="8535302" y="2057400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4" name="Freeform 99"/>
          <p:cNvSpPr>
            <a:spLocks noChangeAspect="1"/>
          </p:cNvSpPr>
          <p:nvPr>
            <p:custDataLst>
              <p:tags r:id="rId11"/>
            </p:custDataLst>
          </p:nvPr>
        </p:nvSpPr>
        <p:spPr bwMode="auto">
          <a:xfrm>
            <a:off x="8521835" y="2700255"/>
            <a:ext cx="227698" cy="216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6" name="Freeform 99"/>
          <p:cNvSpPr>
            <a:spLocks noChangeAspect="1"/>
          </p:cNvSpPr>
          <p:nvPr>
            <p:custDataLst>
              <p:tags r:id="rId12"/>
            </p:custDataLst>
          </p:nvPr>
        </p:nvSpPr>
        <p:spPr bwMode="auto">
          <a:xfrm>
            <a:off x="8535302" y="3510197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7" name="Freeform 99"/>
          <p:cNvSpPr>
            <a:spLocks noChangeAspect="1"/>
          </p:cNvSpPr>
          <p:nvPr>
            <p:custDataLst>
              <p:tags r:id="rId13"/>
            </p:custDataLst>
          </p:nvPr>
        </p:nvSpPr>
        <p:spPr bwMode="auto">
          <a:xfrm>
            <a:off x="8535302" y="4042909"/>
            <a:ext cx="227698" cy="216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8" name="Freeform 99"/>
          <p:cNvSpPr>
            <a:spLocks noChangeAspect="1"/>
          </p:cNvSpPr>
          <p:nvPr>
            <p:custDataLst>
              <p:tags r:id="rId14"/>
            </p:custDataLst>
          </p:nvPr>
        </p:nvSpPr>
        <p:spPr bwMode="auto">
          <a:xfrm>
            <a:off x="8535302" y="3750709"/>
            <a:ext cx="227698" cy="216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9" name="Freeform 99"/>
          <p:cNvSpPr>
            <a:spLocks noChangeAspect="1"/>
          </p:cNvSpPr>
          <p:nvPr>
            <p:custDataLst>
              <p:tags r:id="rId15"/>
            </p:custDataLst>
          </p:nvPr>
        </p:nvSpPr>
        <p:spPr bwMode="auto">
          <a:xfrm>
            <a:off x="8535302" y="4271509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0" name="Freeform 99"/>
          <p:cNvSpPr>
            <a:spLocks noChangeAspect="1"/>
          </p:cNvSpPr>
          <p:nvPr>
            <p:custDataLst>
              <p:tags r:id="rId16"/>
            </p:custDataLst>
          </p:nvPr>
        </p:nvSpPr>
        <p:spPr bwMode="auto">
          <a:xfrm>
            <a:off x="8535302" y="4652509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2" name="Group 102"/>
          <p:cNvGrpSpPr/>
          <p:nvPr>
            <p:custDataLst>
              <p:tags r:id="rId17"/>
            </p:custDataLst>
          </p:nvPr>
        </p:nvGrpSpPr>
        <p:grpSpPr>
          <a:xfrm>
            <a:off x="5105400" y="606623"/>
            <a:ext cx="3923716" cy="307777"/>
            <a:chOff x="4724684" y="332096"/>
            <a:chExt cx="3923716" cy="307777"/>
          </a:xfrm>
        </p:grpSpPr>
        <p:grpSp>
          <p:nvGrpSpPr>
            <p:cNvPr id="3" name="Group 98"/>
            <p:cNvGrpSpPr/>
            <p:nvPr/>
          </p:nvGrpSpPr>
          <p:grpSpPr>
            <a:xfrm>
              <a:off x="6946200" y="405099"/>
              <a:ext cx="895542" cy="141949"/>
              <a:chOff x="6946200" y="405099"/>
              <a:chExt cx="895542" cy="141949"/>
            </a:xfrm>
          </p:grpSpPr>
          <p:sp>
            <p:nvSpPr>
              <p:cNvPr id="95" name="Freeform 99"/>
              <p:cNvSpPr>
                <a:spLocks noChangeAspect="1"/>
              </p:cNvSpPr>
              <p:nvPr/>
            </p:nvSpPr>
            <p:spPr bwMode="auto">
              <a:xfrm>
                <a:off x="6946200" y="405099"/>
                <a:ext cx="144000" cy="136602"/>
              </a:xfrm>
              <a:custGeom>
                <a:avLst/>
                <a:gdLst>
                  <a:gd name="T0" fmla="*/ 3040 w 3040"/>
                  <a:gd name="T1" fmla="*/ 109 h 2884"/>
                  <a:gd name="T2" fmla="*/ 2860 w 3040"/>
                  <a:gd name="T3" fmla="*/ 256 h 2884"/>
                  <a:gd name="T4" fmla="*/ 2673 w 3040"/>
                  <a:gd name="T5" fmla="*/ 428 h 2884"/>
                  <a:gd name="T6" fmla="*/ 2479 w 3040"/>
                  <a:gd name="T7" fmla="*/ 627 h 2884"/>
                  <a:gd name="T8" fmla="*/ 2277 w 3040"/>
                  <a:gd name="T9" fmla="*/ 853 h 2884"/>
                  <a:gd name="T10" fmla="*/ 2067 w 3040"/>
                  <a:gd name="T11" fmla="*/ 1106 h 2884"/>
                  <a:gd name="T12" fmla="*/ 1926 w 3040"/>
                  <a:gd name="T13" fmla="*/ 1287 h 2884"/>
                  <a:gd name="T14" fmla="*/ 1727 w 3040"/>
                  <a:gd name="T15" fmla="*/ 1556 h 2884"/>
                  <a:gd name="T16" fmla="*/ 1546 w 3040"/>
                  <a:gd name="T17" fmla="*/ 1819 h 2884"/>
                  <a:gd name="T18" fmla="*/ 1385 w 3040"/>
                  <a:gd name="T19" fmla="*/ 2076 h 2884"/>
                  <a:gd name="T20" fmla="*/ 1243 w 3040"/>
                  <a:gd name="T21" fmla="*/ 2324 h 2884"/>
                  <a:gd name="T22" fmla="*/ 1120 w 3040"/>
                  <a:gd name="T23" fmla="*/ 2567 h 2884"/>
                  <a:gd name="T24" fmla="*/ 865 w 3040"/>
                  <a:gd name="T25" fmla="*/ 2741 h 2884"/>
                  <a:gd name="T26" fmla="*/ 704 w 3040"/>
                  <a:gd name="T27" fmla="*/ 2867 h 2884"/>
                  <a:gd name="T28" fmla="*/ 675 w 3040"/>
                  <a:gd name="T29" fmla="*/ 2856 h 2884"/>
                  <a:gd name="T30" fmla="*/ 603 w 3040"/>
                  <a:gd name="T31" fmla="*/ 2655 h 2884"/>
                  <a:gd name="T32" fmla="*/ 498 w 3040"/>
                  <a:gd name="T33" fmla="*/ 2404 h 2884"/>
                  <a:gd name="T34" fmla="*/ 401 w 3040"/>
                  <a:gd name="T35" fmla="*/ 2197 h 2884"/>
                  <a:gd name="T36" fmla="*/ 311 w 3040"/>
                  <a:gd name="T37" fmla="*/ 2034 h 2884"/>
                  <a:gd name="T38" fmla="*/ 253 w 3040"/>
                  <a:gd name="T39" fmla="*/ 1950 h 2884"/>
                  <a:gd name="T40" fmla="*/ 164 w 3040"/>
                  <a:gd name="T41" fmla="*/ 1855 h 2884"/>
                  <a:gd name="T42" fmla="*/ 69 w 3040"/>
                  <a:gd name="T43" fmla="*/ 1786 h 2884"/>
                  <a:gd name="T44" fmla="*/ 0 w 3040"/>
                  <a:gd name="T45" fmla="*/ 1757 h 2884"/>
                  <a:gd name="T46" fmla="*/ 87 w 3040"/>
                  <a:gd name="T47" fmla="*/ 1672 h 2884"/>
                  <a:gd name="T48" fmla="*/ 172 w 3040"/>
                  <a:gd name="T49" fmla="*/ 1605 h 2884"/>
                  <a:gd name="T50" fmla="*/ 254 w 3040"/>
                  <a:gd name="T51" fmla="*/ 1555 h 2884"/>
                  <a:gd name="T52" fmla="*/ 332 w 3040"/>
                  <a:gd name="T53" fmla="*/ 1523 h 2884"/>
                  <a:gd name="T54" fmla="*/ 409 w 3040"/>
                  <a:gd name="T55" fmla="*/ 1508 h 2884"/>
                  <a:gd name="T56" fmla="*/ 444 w 3040"/>
                  <a:gd name="T57" fmla="*/ 1507 h 2884"/>
                  <a:gd name="T58" fmla="*/ 476 w 3040"/>
                  <a:gd name="T59" fmla="*/ 1513 h 2884"/>
                  <a:gd name="T60" fmla="*/ 543 w 3040"/>
                  <a:gd name="T61" fmla="*/ 1551 h 2884"/>
                  <a:gd name="T62" fmla="*/ 612 w 3040"/>
                  <a:gd name="T63" fmla="*/ 1621 h 2884"/>
                  <a:gd name="T64" fmla="*/ 683 w 3040"/>
                  <a:gd name="T65" fmla="*/ 1723 h 2884"/>
                  <a:gd name="T66" fmla="*/ 757 w 3040"/>
                  <a:gd name="T67" fmla="*/ 1858 h 2884"/>
                  <a:gd name="T68" fmla="*/ 877 w 3040"/>
                  <a:gd name="T69" fmla="*/ 2117 h 2884"/>
                  <a:gd name="T70" fmla="*/ 973 w 3040"/>
                  <a:gd name="T71" fmla="*/ 1963 h 2884"/>
                  <a:gd name="T72" fmla="*/ 1129 w 3040"/>
                  <a:gd name="T73" fmla="*/ 1731 h 2884"/>
                  <a:gd name="T74" fmla="*/ 1299 w 3040"/>
                  <a:gd name="T75" fmla="*/ 1503 h 2884"/>
                  <a:gd name="T76" fmla="*/ 1485 w 3040"/>
                  <a:gd name="T77" fmla="*/ 1277 h 2884"/>
                  <a:gd name="T78" fmla="*/ 1685 w 3040"/>
                  <a:gd name="T79" fmla="*/ 1052 h 2884"/>
                  <a:gd name="T80" fmla="*/ 1828 w 3040"/>
                  <a:gd name="T81" fmla="*/ 904 h 2884"/>
                  <a:gd name="T82" fmla="*/ 2045 w 3040"/>
                  <a:gd name="T83" fmla="*/ 693 h 2884"/>
                  <a:gd name="T84" fmla="*/ 2260 w 3040"/>
                  <a:gd name="T85" fmla="*/ 502 h 2884"/>
                  <a:gd name="T86" fmla="*/ 2474 w 3040"/>
                  <a:gd name="T87" fmla="*/ 328 h 2884"/>
                  <a:gd name="T88" fmla="*/ 2685 w 3040"/>
                  <a:gd name="T89" fmla="*/ 175 h 2884"/>
                  <a:gd name="T90" fmla="*/ 2893 w 3040"/>
                  <a:gd name="T91" fmla="*/ 40 h 2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40" h="2884">
                    <a:moveTo>
                      <a:pt x="2963" y="0"/>
                    </a:moveTo>
                    <a:lnTo>
                      <a:pt x="3040" y="109"/>
                    </a:lnTo>
                    <a:lnTo>
                      <a:pt x="3040" y="109"/>
                    </a:lnTo>
                    <a:lnTo>
                      <a:pt x="2981" y="155"/>
                    </a:lnTo>
                    <a:lnTo>
                      <a:pt x="2922" y="203"/>
                    </a:lnTo>
                    <a:lnTo>
                      <a:pt x="2860" y="256"/>
                    </a:lnTo>
                    <a:lnTo>
                      <a:pt x="2799" y="309"/>
                    </a:lnTo>
                    <a:lnTo>
                      <a:pt x="2736" y="367"/>
                    </a:lnTo>
                    <a:lnTo>
                      <a:pt x="2673" y="428"/>
                    </a:lnTo>
                    <a:lnTo>
                      <a:pt x="2610" y="491"/>
                    </a:lnTo>
                    <a:lnTo>
                      <a:pt x="2545" y="557"/>
                    </a:lnTo>
                    <a:lnTo>
                      <a:pt x="2479" y="627"/>
                    </a:lnTo>
                    <a:lnTo>
                      <a:pt x="2413" y="699"/>
                    </a:lnTo>
                    <a:lnTo>
                      <a:pt x="2346" y="775"/>
                    </a:lnTo>
                    <a:lnTo>
                      <a:pt x="2277" y="853"/>
                    </a:lnTo>
                    <a:lnTo>
                      <a:pt x="2209" y="934"/>
                    </a:lnTo>
                    <a:lnTo>
                      <a:pt x="2139" y="1018"/>
                    </a:lnTo>
                    <a:lnTo>
                      <a:pt x="2067" y="1106"/>
                    </a:lnTo>
                    <a:lnTo>
                      <a:pt x="1996" y="1196"/>
                    </a:lnTo>
                    <a:lnTo>
                      <a:pt x="1996" y="1196"/>
                    </a:lnTo>
                    <a:lnTo>
                      <a:pt x="1926" y="1287"/>
                    </a:lnTo>
                    <a:lnTo>
                      <a:pt x="1858" y="1377"/>
                    </a:lnTo>
                    <a:lnTo>
                      <a:pt x="1790" y="1468"/>
                    </a:lnTo>
                    <a:lnTo>
                      <a:pt x="1727" y="1556"/>
                    </a:lnTo>
                    <a:lnTo>
                      <a:pt x="1664" y="1645"/>
                    </a:lnTo>
                    <a:lnTo>
                      <a:pt x="1605" y="1733"/>
                    </a:lnTo>
                    <a:lnTo>
                      <a:pt x="1546" y="1819"/>
                    </a:lnTo>
                    <a:lnTo>
                      <a:pt x="1490" y="1905"/>
                    </a:lnTo>
                    <a:lnTo>
                      <a:pt x="1437" y="1991"/>
                    </a:lnTo>
                    <a:lnTo>
                      <a:pt x="1385" y="2076"/>
                    </a:lnTo>
                    <a:lnTo>
                      <a:pt x="1336" y="2159"/>
                    </a:lnTo>
                    <a:lnTo>
                      <a:pt x="1289" y="2242"/>
                    </a:lnTo>
                    <a:lnTo>
                      <a:pt x="1243" y="2324"/>
                    </a:lnTo>
                    <a:lnTo>
                      <a:pt x="1200" y="2405"/>
                    </a:lnTo>
                    <a:lnTo>
                      <a:pt x="1160" y="2486"/>
                    </a:lnTo>
                    <a:lnTo>
                      <a:pt x="1120" y="2567"/>
                    </a:lnTo>
                    <a:lnTo>
                      <a:pt x="958" y="2676"/>
                    </a:lnTo>
                    <a:lnTo>
                      <a:pt x="958" y="2676"/>
                    </a:lnTo>
                    <a:lnTo>
                      <a:pt x="865" y="2741"/>
                    </a:lnTo>
                    <a:lnTo>
                      <a:pt x="788" y="2798"/>
                    </a:lnTo>
                    <a:lnTo>
                      <a:pt x="728" y="2845"/>
                    </a:lnTo>
                    <a:lnTo>
                      <a:pt x="704" y="2867"/>
                    </a:lnTo>
                    <a:lnTo>
                      <a:pt x="683" y="2884"/>
                    </a:lnTo>
                    <a:lnTo>
                      <a:pt x="683" y="2884"/>
                    </a:lnTo>
                    <a:lnTo>
                      <a:pt x="675" y="2856"/>
                    </a:lnTo>
                    <a:lnTo>
                      <a:pt x="666" y="2825"/>
                    </a:lnTo>
                    <a:lnTo>
                      <a:pt x="639" y="2748"/>
                    </a:lnTo>
                    <a:lnTo>
                      <a:pt x="603" y="2655"/>
                    </a:lnTo>
                    <a:lnTo>
                      <a:pt x="560" y="2546"/>
                    </a:lnTo>
                    <a:lnTo>
                      <a:pt x="498" y="2404"/>
                    </a:lnTo>
                    <a:lnTo>
                      <a:pt x="498" y="2404"/>
                    </a:lnTo>
                    <a:lnTo>
                      <a:pt x="465" y="2330"/>
                    </a:lnTo>
                    <a:lnTo>
                      <a:pt x="433" y="2261"/>
                    </a:lnTo>
                    <a:lnTo>
                      <a:pt x="401" y="2197"/>
                    </a:lnTo>
                    <a:lnTo>
                      <a:pt x="371" y="2137"/>
                    </a:lnTo>
                    <a:lnTo>
                      <a:pt x="340" y="2084"/>
                    </a:lnTo>
                    <a:lnTo>
                      <a:pt x="311" y="2034"/>
                    </a:lnTo>
                    <a:lnTo>
                      <a:pt x="281" y="1991"/>
                    </a:lnTo>
                    <a:lnTo>
                      <a:pt x="253" y="1950"/>
                    </a:lnTo>
                    <a:lnTo>
                      <a:pt x="253" y="1950"/>
                    </a:lnTo>
                    <a:lnTo>
                      <a:pt x="225" y="1915"/>
                    </a:lnTo>
                    <a:lnTo>
                      <a:pt x="195" y="1885"/>
                    </a:lnTo>
                    <a:lnTo>
                      <a:pt x="164" y="1855"/>
                    </a:lnTo>
                    <a:lnTo>
                      <a:pt x="133" y="1829"/>
                    </a:lnTo>
                    <a:lnTo>
                      <a:pt x="101" y="1807"/>
                    </a:lnTo>
                    <a:lnTo>
                      <a:pt x="69" y="1786"/>
                    </a:lnTo>
                    <a:lnTo>
                      <a:pt x="35" y="1770"/>
                    </a:lnTo>
                    <a:lnTo>
                      <a:pt x="0" y="1757"/>
                    </a:lnTo>
                    <a:lnTo>
                      <a:pt x="0" y="1757"/>
                    </a:lnTo>
                    <a:lnTo>
                      <a:pt x="30" y="1726"/>
                    </a:lnTo>
                    <a:lnTo>
                      <a:pt x="59" y="1698"/>
                    </a:lnTo>
                    <a:lnTo>
                      <a:pt x="87" y="1672"/>
                    </a:lnTo>
                    <a:lnTo>
                      <a:pt x="116" y="1646"/>
                    </a:lnTo>
                    <a:lnTo>
                      <a:pt x="144" y="1625"/>
                    </a:lnTo>
                    <a:lnTo>
                      <a:pt x="172" y="1605"/>
                    </a:lnTo>
                    <a:lnTo>
                      <a:pt x="199" y="1586"/>
                    </a:lnTo>
                    <a:lnTo>
                      <a:pt x="227" y="1568"/>
                    </a:lnTo>
                    <a:lnTo>
                      <a:pt x="254" y="1555"/>
                    </a:lnTo>
                    <a:lnTo>
                      <a:pt x="281" y="1542"/>
                    </a:lnTo>
                    <a:lnTo>
                      <a:pt x="307" y="1531"/>
                    </a:lnTo>
                    <a:lnTo>
                      <a:pt x="332" y="1523"/>
                    </a:lnTo>
                    <a:lnTo>
                      <a:pt x="359" y="1516"/>
                    </a:lnTo>
                    <a:lnTo>
                      <a:pt x="385" y="1511"/>
                    </a:lnTo>
                    <a:lnTo>
                      <a:pt x="409" y="1508"/>
                    </a:lnTo>
                    <a:lnTo>
                      <a:pt x="434" y="1507"/>
                    </a:lnTo>
                    <a:lnTo>
                      <a:pt x="434" y="1507"/>
                    </a:lnTo>
                    <a:lnTo>
                      <a:pt x="444" y="1507"/>
                    </a:lnTo>
                    <a:lnTo>
                      <a:pt x="455" y="1508"/>
                    </a:lnTo>
                    <a:lnTo>
                      <a:pt x="465" y="1511"/>
                    </a:lnTo>
                    <a:lnTo>
                      <a:pt x="476" y="1513"/>
                    </a:lnTo>
                    <a:lnTo>
                      <a:pt x="499" y="1523"/>
                    </a:lnTo>
                    <a:lnTo>
                      <a:pt x="521" y="1535"/>
                    </a:lnTo>
                    <a:lnTo>
                      <a:pt x="543" y="1551"/>
                    </a:lnTo>
                    <a:lnTo>
                      <a:pt x="566" y="1571"/>
                    </a:lnTo>
                    <a:lnTo>
                      <a:pt x="589" y="1594"/>
                    </a:lnTo>
                    <a:lnTo>
                      <a:pt x="612" y="1621"/>
                    </a:lnTo>
                    <a:lnTo>
                      <a:pt x="636" y="1652"/>
                    </a:lnTo>
                    <a:lnTo>
                      <a:pt x="659" y="1685"/>
                    </a:lnTo>
                    <a:lnTo>
                      <a:pt x="683" y="1723"/>
                    </a:lnTo>
                    <a:lnTo>
                      <a:pt x="708" y="1763"/>
                    </a:lnTo>
                    <a:lnTo>
                      <a:pt x="733" y="1809"/>
                    </a:lnTo>
                    <a:lnTo>
                      <a:pt x="757" y="1858"/>
                    </a:lnTo>
                    <a:lnTo>
                      <a:pt x="783" y="1909"/>
                    </a:lnTo>
                    <a:lnTo>
                      <a:pt x="808" y="1964"/>
                    </a:lnTo>
                    <a:lnTo>
                      <a:pt x="877" y="2117"/>
                    </a:lnTo>
                    <a:lnTo>
                      <a:pt x="877" y="2117"/>
                    </a:lnTo>
                    <a:lnTo>
                      <a:pt x="924" y="2039"/>
                    </a:lnTo>
                    <a:lnTo>
                      <a:pt x="973" y="1963"/>
                    </a:lnTo>
                    <a:lnTo>
                      <a:pt x="1024" y="1885"/>
                    </a:lnTo>
                    <a:lnTo>
                      <a:pt x="1075" y="1808"/>
                    </a:lnTo>
                    <a:lnTo>
                      <a:pt x="1129" y="1731"/>
                    </a:lnTo>
                    <a:lnTo>
                      <a:pt x="1184" y="1655"/>
                    </a:lnTo>
                    <a:lnTo>
                      <a:pt x="1242" y="1578"/>
                    </a:lnTo>
                    <a:lnTo>
                      <a:pt x="1299" y="1503"/>
                    </a:lnTo>
                    <a:lnTo>
                      <a:pt x="1360" y="1427"/>
                    </a:lnTo>
                    <a:lnTo>
                      <a:pt x="1422" y="1351"/>
                    </a:lnTo>
                    <a:lnTo>
                      <a:pt x="1485" y="1277"/>
                    </a:lnTo>
                    <a:lnTo>
                      <a:pt x="1551" y="1201"/>
                    </a:lnTo>
                    <a:lnTo>
                      <a:pt x="1618" y="1127"/>
                    </a:lnTo>
                    <a:lnTo>
                      <a:pt x="1685" y="1052"/>
                    </a:lnTo>
                    <a:lnTo>
                      <a:pt x="1757" y="978"/>
                    </a:lnTo>
                    <a:lnTo>
                      <a:pt x="1828" y="904"/>
                    </a:lnTo>
                    <a:lnTo>
                      <a:pt x="1828" y="904"/>
                    </a:lnTo>
                    <a:lnTo>
                      <a:pt x="1901" y="831"/>
                    </a:lnTo>
                    <a:lnTo>
                      <a:pt x="1973" y="761"/>
                    </a:lnTo>
                    <a:lnTo>
                      <a:pt x="2045" y="693"/>
                    </a:lnTo>
                    <a:lnTo>
                      <a:pt x="2117" y="627"/>
                    </a:lnTo>
                    <a:lnTo>
                      <a:pt x="2189" y="564"/>
                    </a:lnTo>
                    <a:lnTo>
                      <a:pt x="2260" y="502"/>
                    </a:lnTo>
                    <a:lnTo>
                      <a:pt x="2331" y="441"/>
                    </a:lnTo>
                    <a:lnTo>
                      <a:pt x="2402" y="383"/>
                    </a:lnTo>
                    <a:lnTo>
                      <a:pt x="2474" y="328"/>
                    </a:lnTo>
                    <a:lnTo>
                      <a:pt x="2544" y="274"/>
                    </a:lnTo>
                    <a:lnTo>
                      <a:pt x="2614" y="223"/>
                    </a:lnTo>
                    <a:lnTo>
                      <a:pt x="2685" y="175"/>
                    </a:lnTo>
                    <a:lnTo>
                      <a:pt x="2755" y="128"/>
                    </a:lnTo>
                    <a:lnTo>
                      <a:pt x="2825" y="83"/>
                    </a:lnTo>
                    <a:lnTo>
                      <a:pt x="2893" y="40"/>
                    </a:lnTo>
                    <a:lnTo>
                      <a:pt x="2963" y="0"/>
                    </a:lnTo>
                    <a:lnTo>
                      <a:pt x="2963" y="0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solidFill>
                  <a:srgbClr val="003300"/>
                </a:solidFill>
              </a:ln>
              <a:extLst/>
            </p:spPr>
            <p:txBody>
              <a:bodyPr vert="horz" wrap="square" lIns="93286" tIns="46643" rIns="93286" bIns="46643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" sz="1200" dirty="0">
                  <a:solidFill>
                    <a:srgbClr val="FFFFFF">
                      <a:lumMod val="50000"/>
                    </a:srgbClr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97" name="dtable170554751157760 10 144 283 167 68"/>
              <p:cNvSpPr txBox="1">
                <a:spLocks noChangeArrowheads="1"/>
              </p:cNvSpPr>
              <p:nvPr/>
            </p:nvSpPr>
            <p:spPr bwMode="gray">
              <a:xfrm>
                <a:off x="7121742" y="408549"/>
                <a:ext cx="720000" cy="1384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lvl="1" algn="l" rtl="0">
                  <a:spcBef>
                    <a:spcPts val="400"/>
                  </a:spcBef>
                  <a:spcAft>
                    <a:spcPts val="400"/>
                  </a:spcAft>
                  <a:buClr>
                    <a:srgbClr val="000000"/>
                  </a:buClr>
                  <a:buFont typeface="Arial" charset="0"/>
                  <a:buNone/>
                </a:pPr>
                <a:r>
                  <a:rPr lang="ru-RU" sz="900" b="0" i="1" u="none" baseline="0">
                    <a:solidFill>
                      <a:srgbClr val="000000"/>
                    </a:solidFill>
                    <a:latin typeface="Arial"/>
                    <a:cs typeface="Arial"/>
                  </a:rPr>
                  <a:t>Завершено</a:t>
                </a:r>
                <a:endParaRPr lang="ru" sz="900" i="1" dirty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grpSp>
          <p:nvGrpSpPr>
            <p:cNvPr id="4" name="Group 99"/>
            <p:cNvGrpSpPr/>
            <p:nvPr/>
          </p:nvGrpSpPr>
          <p:grpSpPr>
            <a:xfrm>
              <a:off x="7772400" y="394648"/>
              <a:ext cx="876000" cy="152400"/>
              <a:chOff x="8103342" y="390644"/>
              <a:chExt cx="876000" cy="152400"/>
            </a:xfrm>
          </p:grpSpPr>
          <p:sp>
            <p:nvSpPr>
              <p:cNvPr id="96" name="Freeform 99"/>
              <p:cNvSpPr>
                <a:spLocks noChangeAspect="1"/>
              </p:cNvSpPr>
              <p:nvPr/>
            </p:nvSpPr>
            <p:spPr bwMode="auto">
              <a:xfrm>
                <a:off x="8103342" y="390644"/>
                <a:ext cx="144000" cy="136602"/>
              </a:xfrm>
              <a:custGeom>
                <a:avLst/>
                <a:gdLst>
                  <a:gd name="T0" fmla="*/ 3040 w 3040"/>
                  <a:gd name="T1" fmla="*/ 109 h 2884"/>
                  <a:gd name="T2" fmla="*/ 2860 w 3040"/>
                  <a:gd name="T3" fmla="*/ 256 h 2884"/>
                  <a:gd name="T4" fmla="*/ 2673 w 3040"/>
                  <a:gd name="T5" fmla="*/ 428 h 2884"/>
                  <a:gd name="T6" fmla="*/ 2479 w 3040"/>
                  <a:gd name="T7" fmla="*/ 627 h 2884"/>
                  <a:gd name="T8" fmla="*/ 2277 w 3040"/>
                  <a:gd name="T9" fmla="*/ 853 h 2884"/>
                  <a:gd name="T10" fmla="*/ 2067 w 3040"/>
                  <a:gd name="T11" fmla="*/ 1106 h 2884"/>
                  <a:gd name="T12" fmla="*/ 1926 w 3040"/>
                  <a:gd name="T13" fmla="*/ 1287 h 2884"/>
                  <a:gd name="T14" fmla="*/ 1727 w 3040"/>
                  <a:gd name="T15" fmla="*/ 1556 h 2884"/>
                  <a:gd name="T16" fmla="*/ 1546 w 3040"/>
                  <a:gd name="T17" fmla="*/ 1819 h 2884"/>
                  <a:gd name="T18" fmla="*/ 1385 w 3040"/>
                  <a:gd name="T19" fmla="*/ 2076 h 2884"/>
                  <a:gd name="T20" fmla="*/ 1243 w 3040"/>
                  <a:gd name="T21" fmla="*/ 2324 h 2884"/>
                  <a:gd name="T22" fmla="*/ 1120 w 3040"/>
                  <a:gd name="T23" fmla="*/ 2567 h 2884"/>
                  <a:gd name="T24" fmla="*/ 865 w 3040"/>
                  <a:gd name="T25" fmla="*/ 2741 h 2884"/>
                  <a:gd name="T26" fmla="*/ 704 w 3040"/>
                  <a:gd name="T27" fmla="*/ 2867 h 2884"/>
                  <a:gd name="T28" fmla="*/ 675 w 3040"/>
                  <a:gd name="T29" fmla="*/ 2856 h 2884"/>
                  <a:gd name="T30" fmla="*/ 603 w 3040"/>
                  <a:gd name="T31" fmla="*/ 2655 h 2884"/>
                  <a:gd name="T32" fmla="*/ 498 w 3040"/>
                  <a:gd name="T33" fmla="*/ 2404 h 2884"/>
                  <a:gd name="T34" fmla="*/ 401 w 3040"/>
                  <a:gd name="T35" fmla="*/ 2197 h 2884"/>
                  <a:gd name="T36" fmla="*/ 311 w 3040"/>
                  <a:gd name="T37" fmla="*/ 2034 h 2884"/>
                  <a:gd name="T38" fmla="*/ 253 w 3040"/>
                  <a:gd name="T39" fmla="*/ 1950 h 2884"/>
                  <a:gd name="T40" fmla="*/ 164 w 3040"/>
                  <a:gd name="T41" fmla="*/ 1855 h 2884"/>
                  <a:gd name="T42" fmla="*/ 69 w 3040"/>
                  <a:gd name="T43" fmla="*/ 1786 h 2884"/>
                  <a:gd name="T44" fmla="*/ 0 w 3040"/>
                  <a:gd name="T45" fmla="*/ 1757 h 2884"/>
                  <a:gd name="T46" fmla="*/ 87 w 3040"/>
                  <a:gd name="T47" fmla="*/ 1672 h 2884"/>
                  <a:gd name="T48" fmla="*/ 172 w 3040"/>
                  <a:gd name="T49" fmla="*/ 1605 h 2884"/>
                  <a:gd name="T50" fmla="*/ 254 w 3040"/>
                  <a:gd name="T51" fmla="*/ 1555 h 2884"/>
                  <a:gd name="T52" fmla="*/ 332 w 3040"/>
                  <a:gd name="T53" fmla="*/ 1523 h 2884"/>
                  <a:gd name="T54" fmla="*/ 409 w 3040"/>
                  <a:gd name="T55" fmla="*/ 1508 h 2884"/>
                  <a:gd name="T56" fmla="*/ 444 w 3040"/>
                  <a:gd name="T57" fmla="*/ 1507 h 2884"/>
                  <a:gd name="T58" fmla="*/ 476 w 3040"/>
                  <a:gd name="T59" fmla="*/ 1513 h 2884"/>
                  <a:gd name="T60" fmla="*/ 543 w 3040"/>
                  <a:gd name="T61" fmla="*/ 1551 h 2884"/>
                  <a:gd name="T62" fmla="*/ 612 w 3040"/>
                  <a:gd name="T63" fmla="*/ 1621 h 2884"/>
                  <a:gd name="T64" fmla="*/ 683 w 3040"/>
                  <a:gd name="T65" fmla="*/ 1723 h 2884"/>
                  <a:gd name="T66" fmla="*/ 757 w 3040"/>
                  <a:gd name="T67" fmla="*/ 1858 h 2884"/>
                  <a:gd name="T68" fmla="*/ 877 w 3040"/>
                  <a:gd name="T69" fmla="*/ 2117 h 2884"/>
                  <a:gd name="T70" fmla="*/ 973 w 3040"/>
                  <a:gd name="T71" fmla="*/ 1963 h 2884"/>
                  <a:gd name="T72" fmla="*/ 1129 w 3040"/>
                  <a:gd name="T73" fmla="*/ 1731 h 2884"/>
                  <a:gd name="T74" fmla="*/ 1299 w 3040"/>
                  <a:gd name="T75" fmla="*/ 1503 h 2884"/>
                  <a:gd name="T76" fmla="*/ 1485 w 3040"/>
                  <a:gd name="T77" fmla="*/ 1277 h 2884"/>
                  <a:gd name="T78" fmla="*/ 1685 w 3040"/>
                  <a:gd name="T79" fmla="*/ 1052 h 2884"/>
                  <a:gd name="T80" fmla="*/ 1828 w 3040"/>
                  <a:gd name="T81" fmla="*/ 904 h 2884"/>
                  <a:gd name="T82" fmla="*/ 2045 w 3040"/>
                  <a:gd name="T83" fmla="*/ 693 h 2884"/>
                  <a:gd name="T84" fmla="*/ 2260 w 3040"/>
                  <a:gd name="T85" fmla="*/ 502 h 2884"/>
                  <a:gd name="T86" fmla="*/ 2474 w 3040"/>
                  <a:gd name="T87" fmla="*/ 328 h 2884"/>
                  <a:gd name="T88" fmla="*/ 2685 w 3040"/>
                  <a:gd name="T89" fmla="*/ 175 h 2884"/>
                  <a:gd name="T90" fmla="*/ 2893 w 3040"/>
                  <a:gd name="T91" fmla="*/ 40 h 2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40" h="2884">
                    <a:moveTo>
                      <a:pt x="2963" y="0"/>
                    </a:moveTo>
                    <a:lnTo>
                      <a:pt x="3040" y="109"/>
                    </a:lnTo>
                    <a:lnTo>
                      <a:pt x="3040" y="109"/>
                    </a:lnTo>
                    <a:lnTo>
                      <a:pt x="2981" y="155"/>
                    </a:lnTo>
                    <a:lnTo>
                      <a:pt x="2922" y="203"/>
                    </a:lnTo>
                    <a:lnTo>
                      <a:pt x="2860" y="256"/>
                    </a:lnTo>
                    <a:lnTo>
                      <a:pt x="2799" y="309"/>
                    </a:lnTo>
                    <a:lnTo>
                      <a:pt x="2736" y="367"/>
                    </a:lnTo>
                    <a:lnTo>
                      <a:pt x="2673" y="428"/>
                    </a:lnTo>
                    <a:lnTo>
                      <a:pt x="2610" y="491"/>
                    </a:lnTo>
                    <a:lnTo>
                      <a:pt x="2545" y="557"/>
                    </a:lnTo>
                    <a:lnTo>
                      <a:pt x="2479" y="627"/>
                    </a:lnTo>
                    <a:lnTo>
                      <a:pt x="2413" y="699"/>
                    </a:lnTo>
                    <a:lnTo>
                      <a:pt x="2346" y="775"/>
                    </a:lnTo>
                    <a:lnTo>
                      <a:pt x="2277" y="853"/>
                    </a:lnTo>
                    <a:lnTo>
                      <a:pt x="2209" y="934"/>
                    </a:lnTo>
                    <a:lnTo>
                      <a:pt x="2139" y="1018"/>
                    </a:lnTo>
                    <a:lnTo>
                      <a:pt x="2067" y="1106"/>
                    </a:lnTo>
                    <a:lnTo>
                      <a:pt x="1996" y="1196"/>
                    </a:lnTo>
                    <a:lnTo>
                      <a:pt x="1996" y="1196"/>
                    </a:lnTo>
                    <a:lnTo>
                      <a:pt x="1926" y="1287"/>
                    </a:lnTo>
                    <a:lnTo>
                      <a:pt x="1858" y="1377"/>
                    </a:lnTo>
                    <a:lnTo>
                      <a:pt x="1790" y="1468"/>
                    </a:lnTo>
                    <a:lnTo>
                      <a:pt x="1727" y="1556"/>
                    </a:lnTo>
                    <a:lnTo>
                      <a:pt x="1664" y="1645"/>
                    </a:lnTo>
                    <a:lnTo>
                      <a:pt x="1605" y="1733"/>
                    </a:lnTo>
                    <a:lnTo>
                      <a:pt x="1546" y="1819"/>
                    </a:lnTo>
                    <a:lnTo>
                      <a:pt x="1490" y="1905"/>
                    </a:lnTo>
                    <a:lnTo>
                      <a:pt x="1437" y="1991"/>
                    </a:lnTo>
                    <a:lnTo>
                      <a:pt x="1385" y="2076"/>
                    </a:lnTo>
                    <a:lnTo>
                      <a:pt x="1336" y="2159"/>
                    </a:lnTo>
                    <a:lnTo>
                      <a:pt x="1289" y="2242"/>
                    </a:lnTo>
                    <a:lnTo>
                      <a:pt x="1243" y="2324"/>
                    </a:lnTo>
                    <a:lnTo>
                      <a:pt x="1200" y="2405"/>
                    </a:lnTo>
                    <a:lnTo>
                      <a:pt x="1160" y="2486"/>
                    </a:lnTo>
                    <a:lnTo>
                      <a:pt x="1120" y="2567"/>
                    </a:lnTo>
                    <a:lnTo>
                      <a:pt x="958" y="2676"/>
                    </a:lnTo>
                    <a:lnTo>
                      <a:pt x="958" y="2676"/>
                    </a:lnTo>
                    <a:lnTo>
                      <a:pt x="865" y="2741"/>
                    </a:lnTo>
                    <a:lnTo>
                      <a:pt x="788" y="2798"/>
                    </a:lnTo>
                    <a:lnTo>
                      <a:pt x="728" y="2845"/>
                    </a:lnTo>
                    <a:lnTo>
                      <a:pt x="704" y="2867"/>
                    </a:lnTo>
                    <a:lnTo>
                      <a:pt x="683" y="2884"/>
                    </a:lnTo>
                    <a:lnTo>
                      <a:pt x="683" y="2884"/>
                    </a:lnTo>
                    <a:lnTo>
                      <a:pt x="675" y="2856"/>
                    </a:lnTo>
                    <a:lnTo>
                      <a:pt x="666" y="2825"/>
                    </a:lnTo>
                    <a:lnTo>
                      <a:pt x="639" y="2748"/>
                    </a:lnTo>
                    <a:lnTo>
                      <a:pt x="603" y="2655"/>
                    </a:lnTo>
                    <a:lnTo>
                      <a:pt x="560" y="2546"/>
                    </a:lnTo>
                    <a:lnTo>
                      <a:pt x="498" y="2404"/>
                    </a:lnTo>
                    <a:lnTo>
                      <a:pt x="498" y="2404"/>
                    </a:lnTo>
                    <a:lnTo>
                      <a:pt x="465" y="2330"/>
                    </a:lnTo>
                    <a:lnTo>
                      <a:pt x="433" y="2261"/>
                    </a:lnTo>
                    <a:lnTo>
                      <a:pt x="401" y="2197"/>
                    </a:lnTo>
                    <a:lnTo>
                      <a:pt x="371" y="2137"/>
                    </a:lnTo>
                    <a:lnTo>
                      <a:pt x="340" y="2084"/>
                    </a:lnTo>
                    <a:lnTo>
                      <a:pt x="311" y="2034"/>
                    </a:lnTo>
                    <a:lnTo>
                      <a:pt x="281" y="1991"/>
                    </a:lnTo>
                    <a:lnTo>
                      <a:pt x="253" y="1950"/>
                    </a:lnTo>
                    <a:lnTo>
                      <a:pt x="253" y="1950"/>
                    </a:lnTo>
                    <a:lnTo>
                      <a:pt x="225" y="1915"/>
                    </a:lnTo>
                    <a:lnTo>
                      <a:pt x="195" y="1885"/>
                    </a:lnTo>
                    <a:lnTo>
                      <a:pt x="164" y="1855"/>
                    </a:lnTo>
                    <a:lnTo>
                      <a:pt x="133" y="1829"/>
                    </a:lnTo>
                    <a:lnTo>
                      <a:pt x="101" y="1807"/>
                    </a:lnTo>
                    <a:lnTo>
                      <a:pt x="69" y="1786"/>
                    </a:lnTo>
                    <a:lnTo>
                      <a:pt x="35" y="1770"/>
                    </a:lnTo>
                    <a:lnTo>
                      <a:pt x="0" y="1757"/>
                    </a:lnTo>
                    <a:lnTo>
                      <a:pt x="0" y="1757"/>
                    </a:lnTo>
                    <a:lnTo>
                      <a:pt x="30" y="1726"/>
                    </a:lnTo>
                    <a:lnTo>
                      <a:pt x="59" y="1698"/>
                    </a:lnTo>
                    <a:lnTo>
                      <a:pt x="87" y="1672"/>
                    </a:lnTo>
                    <a:lnTo>
                      <a:pt x="116" y="1646"/>
                    </a:lnTo>
                    <a:lnTo>
                      <a:pt x="144" y="1625"/>
                    </a:lnTo>
                    <a:lnTo>
                      <a:pt x="172" y="1605"/>
                    </a:lnTo>
                    <a:lnTo>
                      <a:pt x="199" y="1586"/>
                    </a:lnTo>
                    <a:lnTo>
                      <a:pt x="227" y="1568"/>
                    </a:lnTo>
                    <a:lnTo>
                      <a:pt x="254" y="1555"/>
                    </a:lnTo>
                    <a:lnTo>
                      <a:pt x="281" y="1542"/>
                    </a:lnTo>
                    <a:lnTo>
                      <a:pt x="307" y="1531"/>
                    </a:lnTo>
                    <a:lnTo>
                      <a:pt x="332" y="1523"/>
                    </a:lnTo>
                    <a:lnTo>
                      <a:pt x="359" y="1516"/>
                    </a:lnTo>
                    <a:lnTo>
                      <a:pt x="385" y="1511"/>
                    </a:lnTo>
                    <a:lnTo>
                      <a:pt x="409" y="1508"/>
                    </a:lnTo>
                    <a:lnTo>
                      <a:pt x="434" y="1507"/>
                    </a:lnTo>
                    <a:lnTo>
                      <a:pt x="434" y="1507"/>
                    </a:lnTo>
                    <a:lnTo>
                      <a:pt x="444" y="1507"/>
                    </a:lnTo>
                    <a:lnTo>
                      <a:pt x="455" y="1508"/>
                    </a:lnTo>
                    <a:lnTo>
                      <a:pt x="465" y="1511"/>
                    </a:lnTo>
                    <a:lnTo>
                      <a:pt x="476" y="1513"/>
                    </a:lnTo>
                    <a:lnTo>
                      <a:pt x="499" y="1523"/>
                    </a:lnTo>
                    <a:lnTo>
                      <a:pt x="521" y="1535"/>
                    </a:lnTo>
                    <a:lnTo>
                      <a:pt x="543" y="1551"/>
                    </a:lnTo>
                    <a:lnTo>
                      <a:pt x="566" y="1571"/>
                    </a:lnTo>
                    <a:lnTo>
                      <a:pt x="589" y="1594"/>
                    </a:lnTo>
                    <a:lnTo>
                      <a:pt x="612" y="1621"/>
                    </a:lnTo>
                    <a:lnTo>
                      <a:pt x="636" y="1652"/>
                    </a:lnTo>
                    <a:lnTo>
                      <a:pt x="659" y="1685"/>
                    </a:lnTo>
                    <a:lnTo>
                      <a:pt x="683" y="1723"/>
                    </a:lnTo>
                    <a:lnTo>
                      <a:pt x="708" y="1763"/>
                    </a:lnTo>
                    <a:lnTo>
                      <a:pt x="733" y="1809"/>
                    </a:lnTo>
                    <a:lnTo>
                      <a:pt x="757" y="1858"/>
                    </a:lnTo>
                    <a:lnTo>
                      <a:pt x="783" y="1909"/>
                    </a:lnTo>
                    <a:lnTo>
                      <a:pt x="808" y="1964"/>
                    </a:lnTo>
                    <a:lnTo>
                      <a:pt x="877" y="2117"/>
                    </a:lnTo>
                    <a:lnTo>
                      <a:pt x="877" y="2117"/>
                    </a:lnTo>
                    <a:lnTo>
                      <a:pt x="924" y="2039"/>
                    </a:lnTo>
                    <a:lnTo>
                      <a:pt x="973" y="1963"/>
                    </a:lnTo>
                    <a:lnTo>
                      <a:pt x="1024" y="1885"/>
                    </a:lnTo>
                    <a:lnTo>
                      <a:pt x="1075" y="1808"/>
                    </a:lnTo>
                    <a:lnTo>
                      <a:pt x="1129" y="1731"/>
                    </a:lnTo>
                    <a:lnTo>
                      <a:pt x="1184" y="1655"/>
                    </a:lnTo>
                    <a:lnTo>
                      <a:pt x="1242" y="1578"/>
                    </a:lnTo>
                    <a:lnTo>
                      <a:pt x="1299" y="1503"/>
                    </a:lnTo>
                    <a:lnTo>
                      <a:pt x="1360" y="1427"/>
                    </a:lnTo>
                    <a:lnTo>
                      <a:pt x="1422" y="1351"/>
                    </a:lnTo>
                    <a:lnTo>
                      <a:pt x="1485" y="1277"/>
                    </a:lnTo>
                    <a:lnTo>
                      <a:pt x="1551" y="1201"/>
                    </a:lnTo>
                    <a:lnTo>
                      <a:pt x="1618" y="1127"/>
                    </a:lnTo>
                    <a:lnTo>
                      <a:pt x="1685" y="1052"/>
                    </a:lnTo>
                    <a:lnTo>
                      <a:pt x="1757" y="978"/>
                    </a:lnTo>
                    <a:lnTo>
                      <a:pt x="1828" y="904"/>
                    </a:lnTo>
                    <a:lnTo>
                      <a:pt x="1828" y="904"/>
                    </a:lnTo>
                    <a:lnTo>
                      <a:pt x="1901" y="831"/>
                    </a:lnTo>
                    <a:lnTo>
                      <a:pt x="1973" y="761"/>
                    </a:lnTo>
                    <a:lnTo>
                      <a:pt x="2045" y="693"/>
                    </a:lnTo>
                    <a:lnTo>
                      <a:pt x="2117" y="627"/>
                    </a:lnTo>
                    <a:lnTo>
                      <a:pt x="2189" y="564"/>
                    </a:lnTo>
                    <a:lnTo>
                      <a:pt x="2260" y="502"/>
                    </a:lnTo>
                    <a:lnTo>
                      <a:pt x="2331" y="441"/>
                    </a:lnTo>
                    <a:lnTo>
                      <a:pt x="2402" y="383"/>
                    </a:lnTo>
                    <a:lnTo>
                      <a:pt x="2474" y="328"/>
                    </a:lnTo>
                    <a:lnTo>
                      <a:pt x="2544" y="274"/>
                    </a:lnTo>
                    <a:lnTo>
                      <a:pt x="2614" y="223"/>
                    </a:lnTo>
                    <a:lnTo>
                      <a:pt x="2685" y="175"/>
                    </a:lnTo>
                    <a:lnTo>
                      <a:pt x="2755" y="128"/>
                    </a:lnTo>
                    <a:lnTo>
                      <a:pt x="2825" y="83"/>
                    </a:lnTo>
                    <a:lnTo>
                      <a:pt x="2893" y="40"/>
                    </a:lnTo>
                    <a:lnTo>
                      <a:pt x="2963" y="0"/>
                    </a:lnTo>
                    <a:lnTo>
                      <a:pt x="2963" y="0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solidFill>
                  <a:srgbClr val="FF0000"/>
                </a:solidFill>
              </a:ln>
              <a:extLst/>
            </p:spPr>
            <p:txBody>
              <a:bodyPr vert="horz" wrap="square" lIns="93286" tIns="46643" rIns="93286" bIns="46643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" sz="1200" dirty="0">
                  <a:solidFill>
                    <a:srgbClr val="660066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98" name="dtable170554751157760 10 144 283 167 68"/>
              <p:cNvSpPr txBox="1">
                <a:spLocks noChangeArrowheads="1"/>
              </p:cNvSpPr>
              <p:nvPr/>
            </p:nvSpPr>
            <p:spPr bwMode="gray">
              <a:xfrm>
                <a:off x="8259342" y="404545"/>
                <a:ext cx="720000" cy="1384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>
                    <a:solidFill>
                      <a:schemeClr val="tx1"/>
                    </a:solidFill>
                    <a:latin typeface="+mn-lt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>
                    <a:solidFill>
                      <a:schemeClr val="tx1"/>
                    </a:solidFill>
                    <a:latin typeface="+mn-lt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>
                    <a:solidFill>
                      <a:schemeClr val="tx1"/>
                    </a:solidFill>
                    <a:latin typeface="+mn-lt"/>
                  </a:defRPr>
                </a:lvl4pPr>
                <a:lvl5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lvl="1" algn="l" rtl="0">
                  <a:spcBef>
                    <a:spcPts val="400"/>
                  </a:spcBef>
                  <a:spcAft>
                    <a:spcPts val="400"/>
                  </a:spcAft>
                  <a:buClr>
                    <a:srgbClr val="000000"/>
                  </a:buClr>
                  <a:buFont typeface="Arial" charset="0"/>
                  <a:buNone/>
                </a:pPr>
                <a:r>
                  <a:rPr lang="ru-RU" sz="900" b="0" i="1" u="none" baseline="0">
                    <a:solidFill>
                      <a:srgbClr val="000000"/>
                    </a:solidFill>
                    <a:latin typeface="Arial"/>
                    <a:cs typeface="Arial"/>
                  </a:rPr>
                  <a:t>В процессе</a:t>
                </a:r>
                <a:endParaRPr lang="ru" sz="900" i="1" dirty="0">
                  <a:solidFill>
                    <a:srgbClr val="000000"/>
                  </a:solidFill>
                  <a:latin typeface="Arial"/>
                  <a:cs typeface="Arial"/>
                </a:endParaRPr>
              </a:p>
            </p:txBody>
          </p:sp>
        </p:grpSp>
        <p:sp>
          <p:nvSpPr>
            <p:cNvPr id="102" name="Rectangle 5"/>
            <p:cNvSpPr txBox="1"/>
            <p:nvPr/>
          </p:nvSpPr>
          <p:spPr>
            <a:xfrm>
              <a:off x="4724684" y="332096"/>
              <a:ext cx="2129116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algn="l" rtl="0" fontAlgn="base">
                <a:spcBef>
                  <a:spcPct val="0"/>
                </a:spcBef>
                <a:spcAft>
                  <a:spcPct val="0"/>
                </a:spcAft>
                <a:buClr>
                  <a:srgbClr val="204024"/>
                </a:buClr>
              </a:pPr>
              <a:r>
                <a:rPr lang="ru-RU" sz="1000" b="0" i="0" u="none" baseline="0" dirty="0">
                  <a:solidFill>
                    <a:srgbClr val="000000"/>
                  </a:solidFill>
                  <a:latin typeface="Arial"/>
                  <a:cs typeface="Arial"/>
                </a:rPr>
                <a:t>Цветовой код проверки статуса:</a:t>
              </a:r>
              <a:endParaRPr lang="ru" sz="100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</p:grpSp>
      <p:sp>
        <p:nvSpPr>
          <p:cNvPr id="78" name="Freeform 99"/>
          <p:cNvSpPr>
            <a:spLocks noChangeAspect="1"/>
          </p:cNvSpPr>
          <p:nvPr>
            <p:custDataLst>
              <p:tags r:id="rId18"/>
            </p:custDataLst>
          </p:nvPr>
        </p:nvSpPr>
        <p:spPr bwMode="auto">
          <a:xfrm>
            <a:off x="8535302" y="2938874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5" name="Freeform 99"/>
          <p:cNvSpPr>
            <a:spLocks noChangeAspect="1"/>
          </p:cNvSpPr>
          <p:nvPr>
            <p:custDataLst>
              <p:tags r:id="rId19"/>
            </p:custDataLst>
          </p:nvPr>
        </p:nvSpPr>
        <p:spPr bwMode="auto">
          <a:xfrm>
            <a:off x="8535302" y="2298600"/>
            <a:ext cx="227698" cy="216000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438400" y="5119047"/>
            <a:ext cx="5835884" cy="1115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/>
              <a:t>Размещение Отделом поставок (SD) заказов на покупку</a:t>
            </a:r>
          </a:p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Заключение Отделом поставок (SD) контракта с местным поставщиком на мониторинг и оценку третьей стороной</a:t>
            </a:r>
            <a:endParaRPr lang="ru" sz="1100" dirty="0" smtClean="0"/>
          </a:p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 smtClean="0">
                <a:solidFill>
                  <a:srgbClr val="000000"/>
                </a:solidFill>
                <a:ea typeface="ＭＳ Ｐゴシック"/>
              </a:rPr>
              <a:t>Отслеживание </a:t>
            </a: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доставки и установки Отделом поставок (SD)/руководителем (CO)</a:t>
            </a:r>
          </a:p>
          <a:p>
            <a:pPr marL="450850" lvl="2" indent="-274638" algn="l" rtl="0" fontAlgn="base">
              <a:spcBef>
                <a:spcPts val="600"/>
              </a:spcBef>
              <a:spcAft>
                <a:spcPts val="100"/>
              </a:spcAft>
              <a:buClr>
                <a:srgbClr val="E0EDFD">
                  <a:lumMod val="10000"/>
                </a:srgbClr>
              </a:buClr>
              <a:buSzPct val="100000"/>
              <a:buFont typeface="+mj-lt"/>
              <a:buAutoNum type="romanLcPeriod"/>
            </a:pPr>
            <a:r>
              <a:rPr lang="ru-RU" sz="1100" b="0" i="0" u="none" baseline="0" dirty="0">
                <a:solidFill>
                  <a:srgbClr val="000000"/>
                </a:solidFill>
                <a:ea typeface="ＭＳ Ｐゴシック"/>
              </a:rPr>
              <a:t>Утверждение руководителем (CO) счетов и отправка их на </a:t>
            </a:r>
            <a:r>
              <a:rPr lang="ru-RU" sz="1100" b="0" i="0" u="none" baseline="0" dirty="0" smtClean="0">
                <a:solidFill>
                  <a:srgbClr val="000000"/>
                </a:solidFill>
                <a:ea typeface="ＭＳ Ｐゴシック"/>
              </a:rPr>
              <a:t>оплату</a:t>
            </a:r>
            <a:endParaRPr lang="ru-RU" sz="1100" b="0" i="0" u="none" baseline="0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03" name="Freeform 99"/>
          <p:cNvSpPr>
            <a:spLocks noChangeAspect="1"/>
          </p:cNvSpPr>
          <p:nvPr>
            <p:custDataLst>
              <p:tags r:id="rId20"/>
            </p:custDataLst>
          </p:nvPr>
        </p:nvSpPr>
        <p:spPr bwMode="auto">
          <a:xfrm>
            <a:off x="8483224" y="5197543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4" name="Freeform 99"/>
          <p:cNvSpPr>
            <a:spLocks noChangeAspect="1"/>
          </p:cNvSpPr>
          <p:nvPr>
            <p:custDataLst>
              <p:tags r:id="rId21"/>
            </p:custDataLst>
          </p:nvPr>
        </p:nvSpPr>
        <p:spPr bwMode="auto">
          <a:xfrm>
            <a:off x="8483224" y="5437985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5" name="Freeform 99"/>
          <p:cNvSpPr>
            <a:spLocks noChangeAspect="1"/>
          </p:cNvSpPr>
          <p:nvPr>
            <p:custDataLst>
              <p:tags r:id="rId22"/>
            </p:custDataLst>
          </p:nvPr>
        </p:nvSpPr>
        <p:spPr bwMode="auto">
          <a:xfrm>
            <a:off x="8483224" y="5683600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6" name="Freeform 99"/>
          <p:cNvSpPr>
            <a:spLocks noChangeAspect="1"/>
          </p:cNvSpPr>
          <p:nvPr>
            <p:custDataLst>
              <p:tags r:id="rId23"/>
            </p:custDataLst>
          </p:nvPr>
        </p:nvSpPr>
        <p:spPr bwMode="auto">
          <a:xfrm>
            <a:off x="8483224" y="5912200"/>
            <a:ext cx="227698" cy="245615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  <a:extLst/>
        </p:spPr>
        <p:txBody>
          <a:bodyPr vert="horz" wrap="square" lIns="93286" tIns="46643" rIns="93286" bIns="46643" numCol="1" anchor="t" anchorCtr="0" compatLnSpc="1">
            <a:prstTxWarp prst="textNoShape">
              <a:avLst/>
            </a:prstTxWarp>
            <a:noAutofit/>
          </a:bodyPr>
          <a:lstStyle/>
          <a:p>
            <a:endParaRPr lang="ru" sz="1300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50" name="Picture 49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2743200" y="1179500"/>
            <a:ext cx="6097969" cy="81036"/>
          </a:xfrm>
          <a:prstGeom prst="rect">
            <a:avLst/>
          </a:prstGeom>
        </p:spPr>
      </p:pic>
      <p:pic>
        <p:nvPicPr>
          <p:cNvPr id="52" name="Picture 51"/>
          <p:cNvPicPr>
            <a:picLocks/>
          </p:cNvPicPr>
          <p:nvPr/>
        </p:nvPicPr>
        <p:blipFill>
          <a:blip r:embed="rId29">
            <a:alphaModFix amt="66000"/>
          </a:blip>
          <a:stretch>
            <a:fillRect/>
          </a:stretch>
        </p:blipFill>
        <p:spPr>
          <a:xfrm>
            <a:off x="2743200" y="2605580"/>
            <a:ext cx="6097969" cy="27432"/>
          </a:xfrm>
          <a:prstGeom prst="rect">
            <a:avLst/>
          </a:prstGeom>
          <a:ln>
            <a:solidFill>
              <a:srgbClr val="F5FBBC"/>
            </a:solidFill>
          </a:ln>
        </p:spPr>
      </p:pic>
      <p:pic>
        <p:nvPicPr>
          <p:cNvPr id="53" name="Picture 52"/>
          <p:cNvPicPr>
            <a:picLocks/>
          </p:cNvPicPr>
          <p:nvPr/>
        </p:nvPicPr>
        <p:blipFill>
          <a:blip r:embed="rId29">
            <a:alphaModFix amt="66000"/>
          </a:blip>
          <a:stretch>
            <a:fillRect/>
          </a:stretch>
        </p:blipFill>
        <p:spPr>
          <a:xfrm>
            <a:off x="2743200" y="5091615"/>
            <a:ext cx="6097969" cy="27432"/>
          </a:xfrm>
          <a:prstGeom prst="rect">
            <a:avLst/>
          </a:prstGeom>
          <a:ln>
            <a:solidFill>
              <a:srgbClr val="F5FBBC"/>
            </a:solidFill>
          </a:ln>
        </p:spPr>
      </p:pic>
      <p:sp>
        <p:nvSpPr>
          <p:cNvPr id="43" name="Rectangle 6"/>
          <p:cNvSpPr txBox="1">
            <a:spLocks/>
          </p:cNvSpPr>
          <p:nvPr/>
        </p:nvSpPr>
        <p:spPr>
          <a:xfrm>
            <a:off x="534780" y="1225161"/>
            <a:ext cx="1903620" cy="984639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 defTabSz="914400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i="0" u="none" baseline="0">
                <a:solidFill>
                  <a:srgbClr val="1F1F1F"/>
                </a:solidFill>
                <a:cs typeface="Arial"/>
              </a:rPr>
              <a:t>Заявка и утверждение в рамках ПООХЦ </a:t>
            </a:r>
            <a:r>
              <a:rPr lang="ru-RU" sz="1400" b="1">
                <a:solidFill>
                  <a:srgbClr val="1F1F1F"/>
                </a:solidFill>
                <a:cs typeface="Arial"/>
              </a:rPr>
              <a:t/>
            </a:r>
            <a:br>
              <a:rPr lang="ru-RU" sz="1400" b="1">
                <a:solidFill>
                  <a:srgbClr val="1F1F1F"/>
                </a:solidFill>
                <a:cs typeface="Arial"/>
              </a:rPr>
            </a:br>
            <a:endParaRPr lang="ru-RU" sz="1400" b="1">
              <a:solidFill>
                <a:srgbClr val="1F1F1F"/>
              </a:solidFill>
              <a:cs typeface="Arial"/>
            </a:endParaRPr>
          </a:p>
          <a:p>
            <a:pPr marL="95250" algn="ctr" defTabSz="914400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ru" sz="1400" b="1" dirty="0">
              <a:solidFill>
                <a:srgbClr val="1F1F1F"/>
              </a:solidFill>
              <a:cs typeface="Arial"/>
            </a:endParaRPr>
          </a:p>
        </p:txBody>
      </p:sp>
      <p:sp>
        <p:nvSpPr>
          <p:cNvPr id="45" name="Rectangle 6"/>
          <p:cNvSpPr txBox="1">
            <a:spLocks/>
          </p:cNvSpPr>
          <p:nvPr/>
        </p:nvSpPr>
        <p:spPr>
          <a:xfrm>
            <a:off x="357910" y="1060362"/>
            <a:ext cx="355403" cy="337991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ru-RU" sz="1100" b="1" i="0" u="none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A</a:t>
            </a:r>
            <a:endParaRPr lang="ru" sz="1100" b="1" kern="1200" dirty="0" smtClean="0">
              <a:solidFill>
                <a:srgbClr val="1F1F1F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46" name="Rectangle 6"/>
          <p:cNvSpPr txBox="1">
            <a:spLocks/>
          </p:cNvSpPr>
          <p:nvPr/>
        </p:nvSpPr>
        <p:spPr>
          <a:xfrm>
            <a:off x="534780" y="2635600"/>
            <a:ext cx="1903620" cy="984639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 defTabSz="914400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i="0" u="none" baseline="0">
                <a:solidFill>
                  <a:srgbClr val="1F1F1F"/>
                </a:solidFill>
                <a:cs typeface="Arial"/>
              </a:rPr>
              <a:t>Планирование закупки </a:t>
            </a:r>
            <a:endParaRPr lang="ru" sz="1400" b="1" dirty="0" smtClean="0">
              <a:solidFill>
                <a:srgbClr val="1F1F1F"/>
              </a:solidFill>
              <a:cs typeface="Arial"/>
            </a:endParaRPr>
          </a:p>
          <a:p>
            <a:pPr marL="95250" algn="ctr" defTabSz="914400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ru" sz="1400" b="1" dirty="0">
              <a:solidFill>
                <a:srgbClr val="1F1F1F"/>
              </a:solidFill>
              <a:cs typeface="Arial"/>
            </a:endParaRPr>
          </a:p>
        </p:txBody>
      </p:sp>
      <p:sp>
        <p:nvSpPr>
          <p:cNvPr id="47" name="Rectangle 6"/>
          <p:cNvSpPr txBox="1">
            <a:spLocks/>
          </p:cNvSpPr>
          <p:nvPr/>
        </p:nvSpPr>
        <p:spPr>
          <a:xfrm>
            <a:off x="357910" y="2470801"/>
            <a:ext cx="355403" cy="337991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ru-RU" sz="1100" b="1" i="0" u="none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B</a:t>
            </a:r>
            <a:endParaRPr lang="ru" sz="1100" b="1" kern="1200" dirty="0" smtClean="0">
              <a:solidFill>
                <a:srgbClr val="1F1F1F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49" name="Rectangle 6"/>
          <p:cNvSpPr txBox="1">
            <a:spLocks/>
          </p:cNvSpPr>
          <p:nvPr/>
        </p:nvSpPr>
        <p:spPr>
          <a:xfrm>
            <a:off x="534780" y="5263761"/>
            <a:ext cx="1903620" cy="984639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 defTabSz="914400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i="0" u="none" baseline="0">
                <a:solidFill>
                  <a:srgbClr val="1F1F1F"/>
                </a:solidFill>
                <a:cs typeface="Arial"/>
              </a:rPr>
              <a:t>Планирование закупки </a:t>
            </a:r>
            <a:endParaRPr lang="ru" sz="1400" b="1" dirty="0" smtClean="0">
              <a:solidFill>
                <a:srgbClr val="1F1F1F"/>
              </a:solidFill>
              <a:cs typeface="Arial"/>
            </a:endParaRPr>
          </a:p>
          <a:p>
            <a:pPr marL="95250" algn="ctr" defTabSz="914400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ru" sz="1400" b="1" dirty="0">
              <a:solidFill>
                <a:srgbClr val="1F1F1F"/>
              </a:solidFill>
              <a:cs typeface="Arial"/>
            </a:endParaRPr>
          </a:p>
        </p:txBody>
      </p:sp>
      <p:sp>
        <p:nvSpPr>
          <p:cNvPr id="51" name="Rectangle 6"/>
          <p:cNvSpPr txBox="1">
            <a:spLocks/>
          </p:cNvSpPr>
          <p:nvPr/>
        </p:nvSpPr>
        <p:spPr>
          <a:xfrm>
            <a:off x="357910" y="5098962"/>
            <a:ext cx="355403" cy="337991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ru-RU" sz="1100" b="1" i="0" u="none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C</a:t>
            </a:r>
            <a:endParaRPr lang="ru" sz="1100" b="1" kern="1200" dirty="0" smtClean="0">
              <a:solidFill>
                <a:srgbClr val="1F1F1F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54" name="Rectangle 53"/>
          <p:cNvSpPr/>
          <p:nvPr/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 rtl="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ru" dirty="0" smtClean="0"/>
          </a:p>
        </p:txBody>
      </p:sp>
      <p:sp>
        <p:nvSpPr>
          <p:cNvPr id="55" name="Title 1"/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656182" y="106680"/>
            <a:ext cx="848781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defTabSz="911135" rtl="0" fontAlgn="base">
              <a:spcBef>
                <a:spcPct val="0"/>
              </a:spcBef>
              <a:spcAft>
                <a:spcPct val="0"/>
              </a:spcAft>
              <a:tabLst>
                <a:tab pos="368907" algn="l"/>
              </a:tabLst>
              <a:defRPr/>
            </a:pPr>
            <a:r>
              <a:rPr lang="ru-RU" sz="1400" b="1" i="0" u="none" baseline="0" dirty="0">
                <a:solidFill>
                  <a:schemeClr val="bg1"/>
                </a:solidFill>
                <a:latin typeface="Arial Narrow"/>
                <a:cs typeface="Arial Narrow"/>
              </a:rPr>
              <a:t>Краткий обзор заявки и реализации ПООХЦ</a:t>
            </a:r>
          </a:p>
        </p:txBody>
      </p:sp>
    </p:spTree>
    <p:extLst>
      <p:ext uri="{BB962C8B-B14F-4D97-AF65-F5344CB8AC3E}">
        <p14:creationId xmlns:p14="http://schemas.microsoft.com/office/powerpoint/2010/main" val="2786040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/>
          </p:cNvGraphicFramePr>
          <p:nvPr/>
        </p:nvGraphicFramePr>
        <p:xfrm>
          <a:off x="1588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30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08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tangle 69" hidden="1"/>
          <p:cNvSpPr/>
          <p:nvPr>
            <p:custDataLst>
              <p:tags r:id="rId2"/>
            </p:custDataLst>
          </p:nvPr>
        </p:nvSpPr>
        <p:spPr bwMode="auto">
          <a:xfrm>
            <a:off x="0" y="2"/>
            <a:ext cx="292388" cy="276999"/>
          </a:xfrm>
          <a:prstGeom prst="rect">
            <a:avLst/>
          </a:prstGeom>
          <a:solidFill>
            <a:scrgbClr r="0" g="0" b="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ctr" defTabSz="787234" rtl="0">
              <a:spcBef>
                <a:spcPct val="0"/>
              </a:spcBef>
              <a:spcAft>
                <a:spcPct val="0"/>
              </a:spcAft>
              <a:buClr>
                <a:srgbClr val="204024"/>
              </a:buClr>
              <a:buSzPct val="125000"/>
            </a:pPr>
            <a:endParaRPr lang="ru" sz="14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39" name="Title 1"/>
          <p:cNvSpPr txBox="1">
            <a:spLocks/>
          </p:cNvSpPr>
          <p:nvPr/>
        </p:nvSpPr>
        <p:spPr bwMode="gray">
          <a:xfrm>
            <a:off x="656588" y="106680"/>
            <a:ext cx="831281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defTabSz="911135" rtl="0" fontAlgn="base">
              <a:spcBef>
                <a:spcPct val="0"/>
              </a:spcBef>
              <a:spcAft>
                <a:spcPct val="0"/>
              </a:spcAft>
              <a:tabLst>
                <a:tab pos="368907" algn="l"/>
              </a:tabLst>
              <a:defRPr/>
            </a:pPr>
            <a:r>
              <a:rPr lang="ru-RU" sz="1400" b="1" i="0" u="none" baseline="0" dirty="0">
                <a:solidFill>
                  <a:srgbClr val="FFFFFF"/>
                </a:solidFill>
                <a:latin typeface="Arial Narrow"/>
                <a:cs typeface="Arial Narrow"/>
              </a:rPr>
              <a:t>Управление процессом развертывания: </a:t>
            </a:r>
            <a:endParaRPr lang="ru" sz="1400" b="1" kern="1200" dirty="0">
              <a:solidFill>
                <a:srgbClr val="FFFFFF"/>
              </a:solidFill>
              <a:latin typeface="Arial Narrow"/>
              <a:cs typeface="Arial Narrow"/>
            </a:endParaRPr>
          </a:p>
        </p:txBody>
      </p:sp>
      <p:sp>
        <p:nvSpPr>
          <p:cNvPr id="99" name="Rectangle 98"/>
          <p:cNvSpPr/>
          <p:nvPr/>
        </p:nvSpPr>
        <p:spPr bwMode="auto">
          <a:xfrm>
            <a:off x="486141" y="1684439"/>
            <a:ext cx="8138342" cy="868680"/>
          </a:xfrm>
          <a:prstGeom prst="rect">
            <a:avLst/>
          </a:prstGeom>
          <a:noFill/>
          <a:ln w="25400">
            <a:solidFill>
              <a:srgbClr val="00589F"/>
            </a:solidFill>
            <a:prstDash val="solid"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lvl="0" algn="ctr" defTabSz="787400" rtl="0">
              <a:buClr>
                <a:srgbClr val="204024"/>
              </a:buClr>
              <a:buSzPct val="125000"/>
            </a:pPr>
            <a:r>
              <a:rPr lang="ru-RU" sz="1500" b="0" i="0" u="none" baseline="0" dirty="0"/>
              <a:t>Организация группы по управлению проектом, в состав </a:t>
            </a:r>
            <a:r>
              <a:rPr lang="ru-RU" sz="1500" b="0" i="0" u="none" baseline="0" dirty="0" smtClean="0"/>
              <a:t>которой входят</a:t>
            </a:r>
            <a:endParaRPr lang="en-US" sz="1500" b="0" i="0" u="none" baseline="0" dirty="0" smtClean="0"/>
          </a:p>
          <a:p>
            <a:pPr lvl="0" algn="ctr" defTabSz="787400" rtl="0">
              <a:buClr>
                <a:srgbClr val="204024"/>
              </a:buClr>
              <a:buSzPct val="125000"/>
            </a:pPr>
            <a:r>
              <a:rPr lang="ru-RU" sz="1500" b="0" i="0" u="none" baseline="0" dirty="0" smtClean="0"/>
              <a:t>представители </a:t>
            </a:r>
            <a:r>
              <a:rPr lang="ru-RU" sz="1500" b="0" i="0" u="none" baseline="0" dirty="0"/>
              <a:t>Министерства здравоохранения, руководитель со </a:t>
            </a:r>
            <a:r>
              <a:rPr lang="ru-RU" sz="1500" b="0" i="0" u="none" baseline="0" dirty="0" smtClean="0"/>
              <a:t>стороны</a:t>
            </a:r>
            <a:endParaRPr lang="en-US" sz="1500" b="0" i="0" u="none" baseline="0" dirty="0" smtClean="0"/>
          </a:p>
          <a:p>
            <a:pPr lvl="0" algn="ctr" defTabSz="787400" rtl="0">
              <a:buClr>
                <a:srgbClr val="204024"/>
              </a:buClr>
              <a:buSzPct val="125000"/>
            </a:pPr>
            <a:r>
              <a:rPr lang="ru-RU" sz="1500" b="0" i="0" u="none" baseline="0" dirty="0" smtClean="0"/>
              <a:t>ЮНИСЕФ</a:t>
            </a:r>
            <a:r>
              <a:rPr lang="ru-RU" sz="1500" b="0" i="0" u="none" baseline="0" dirty="0"/>
              <a:t>, </a:t>
            </a:r>
            <a:r>
              <a:rPr lang="ru-RU" sz="1500" b="0" i="0" u="none" baseline="0" dirty="0" smtClean="0"/>
              <a:t>партнеры</a:t>
            </a:r>
            <a:r>
              <a:rPr lang="ru-RU" sz="1500" b="0" i="0" u="none" baseline="0" dirty="0"/>
              <a:t>, и установление каналов связи с Отделом поставок (SD) ЮНИСЕФ.</a:t>
            </a:r>
            <a:endParaRPr lang="ru" sz="1500" dirty="0"/>
          </a:p>
        </p:txBody>
      </p:sp>
      <p:sp>
        <p:nvSpPr>
          <p:cNvPr id="113" name="Rectangle 112"/>
          <p:cNvSpPr/>
          <p:nvPr/>
        </p:nvSpPr>
        <p:spPr bwMode="auto">
          <a:xfrm>
            <a:off x="463906" y="2712722"/>
            <a:ext cx="8183637" cy="868677"/>
          </a:xfrm>
          <a:prstGeom prst="rect">
            <a:avLst/>
          </a:prstGeom>
          <a:noFill/>
          <a:ln w="25400">
            <a:solidFill>
              <a:srgbClr val="00589F"/>
            </a:solidFill>
            <a:prstDash val="solid"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lvl="0" algn="ctr" rtl="0"/>
            <a:r>
              <a:rPr lang="ru-RU" sz="1600" b="0" i="0" u="none" baseline="0"/>
              <a:t>	Определение руководителя проекта; разработка рабочего плана; установление ролей, обязанностей и временных рамок отчетности</a:t>
            </a:r>
          </a:p>
        </p:txBody>
      </p:sp>
      <p:sp>
        <p:nvSpPr>
          <p:cNvPr id="117" name="Rectangle 116"/>
          <p:cNvSpPr/>
          <p:nvPr/>
        </p:nvSpPr>
        <p:spPr bwMode="auto">
          <a:xfrm>
            <a:off x="474902" y="3731241"/>
            <a:ext cx="8161237" cy="863850"/>
          </a:xfrm>
          <a:prstGeom prst="rect">
            <a:avLst/>
          </a:prstGeom>
          <a:noFill/>
          <a:ln w="25400" cap="flat" cmpd="sng">
            <a:solidFill>
              <a:srgbClr val="00589F"/>
            </a:solidFill>
            <a:prstDash val="solid"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lvl="0" algn="l" rtl="0"/>
            <a:r>
              <a:rPr lang="ru-RU" sz="1600" b="0" i="0" u="none" baseline="0"/>
              <a:t>	Определение списка разрешений, утверждений и управленческих отчетов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809948" y="5834185"/>
            <a:ext cx="325065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ru-RU" sz="1100" b="0" i="0" u="none" baseline="0">
                <a:solidFill>
                  <a:srgbClr val="063166"/>
                </a:solidFill>
              </a:rPr>
              <a:t>Указание информации об участниках группы и </a:t>
            </a:r>
            <a:r>
              <a:rPr lang="ru-RU" sz="1100">
                <a:solidFill>
                  <a:srgbClr val="063166"/>
                </a:solidFill>
              </a:rPr>
              <a:t/>
            </a:r>
            <a:br>
              <a:rPr lang="ru-RU" sz="1100">
                <a:solidFill>
                  <a:srgbClr val="063166"/>
                </a:solidFill>
              </a:rPr>
            </a:br>
            <a:r>
              <a:rPr lang="ru-RU" sz="1100" b="0" i="0" u="none" baseline="0">
                <a:solidFill>
                  <a:srgbClr val="063166"/>
                </a:solidFill>
              </a:rPr>
              <a:t>контактной информации в шаблоне Excel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10676" y="685800"/>
            <a:ext cx="8757124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ru-RU" b="1" i="0" u="none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Министерство здравоохранения должно организовать группу по управлению проектом </a:t>
            </a:r>
            <a:r>
              <a:rPr lang="ru-RU" b="1" i="0" u="none" baseline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и </a:t>
            </a:r>
            <a:r>
              <a:rPr lang="ru-RU" b="1" i="0" u="none" baseline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пределить стратегию обмена информацией:</a:t>
            </a: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20320" y="1346200"/>
            <a:ext cx="3822700" cy="5080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 rtl="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ru" dirty="0" smtClean="0"/>
          </a:p>
        </p:txBody>
      </p:sp>
      <p:sp>
        <p:nvSpPr>
          <p:cNvPr id="11" name="Rectangle 10"/>
          <p:cNvSpPr/>
          <p:nvPr/>
        </p:nvSpPr>
        <p:spPr>
          <a:xfrm>
            <a:off x="35523" y="92588"/>
            <a:ext cx="4791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914400" rtl="0">
              <a:defRPr/>
            </a:pPr>
            <a:r>
              <a:rPr lang="ru-RU" b="1" i="0" u="none" baseline="0">
                <a:solidFill>
                  <a:schemeClr val="bg1"/>
                </a:solidFill>
                <a:latin typeface="Arial Narrow"/>
                <a:ea typeface="ＭＳ Ｐゴシック"/>
                <a:cs typeface="Arial Narrow"/>
              </a:rPr>
              <a:t>Bi1</a:t>
            </a:r>
            <a:endParaRPr lang="ru" b="1" dirty="0">
              <a:solidFill>
                <a:schemeClr val="bg1"/>
              </a:solidFill>
              <a:latin typeface="Arial Narrow"/>
              <a:ea typeface="ＭＳ Ｐゴシック"/>
              <a:cs typeface="Arial Narrow"/>
            </a:endParaRPr>
          </a:p>
        </p:txBody>
      </p:sp>
      <p:sp>
        <p:nvSpPr>
          <p:cNvPr id="23" name="Oval 30"/>
          <p:cNvSpPr>
            <a:spLocks noChangeArrowheads="1"/>
          </p:cNvSpPr>
          <p:nvPr/>
        </p:nvSpPr>
        <p:spPr bwMode="auto">
          <a:xfrm>
            <a:off x="865850" y="1868455"/>
            <a:ext cx="365760" cy="360000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00589F"/>
            </a:solidFill>
            <a:round/>
            <a:headEnd/>
            <a:tailEnd/>
          </a:ln>
          <a:effectLst/>
        </p:spPr>
        <p:txBody>
          <a:bodyPr wrap="none" lIns="54000" tIns="54000" rIns="54000" bIns="54000" anchor="ctr"/>
          <a:lstStyle/>
          <a:p>
            <a:pPr algn="ctr" defTabSz="762000" rtl="0">
              <a:spcBef>
                <a:spcPct val="50000"/>
              </a:spcBef>
            </a:pPr>
            <a:r>
              <a:rPr lang="ru-RU" sz="1300" b="0" i="0" u="none" baseline="0">
                <a:solidFill>
                  <a:srgbClr val="000000"/>
                </a:solidFill>
                <a:latin typeface="Arial"/>
                <a:cs typeface="Arial"/>
              </a:rPr>
              <a:t>1</a:t>
            </a:r>
            <a:endParaRPr lang="ru" sz="13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4" name="Oval 30"/>
          <p:cNvSpPr>
            <a:spLocks noChangeArrowheads="1"/>
          </p:cNvSpPr>
          <p:nvPr/>
        </p:nvSpPr>
        <p:spPr bwMode="auto">
          <a:xfrm>
            <a:off x="865850" y="2974513"/>
            <a:ext cx="365760" cy="360000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00589F"/>
            </a:solidFill>
            <a:round/>
            <a:headEnd/>
            <a:tailEnd/>
          </a:ln>
          <a:effectLst/>
        </p:spPr>
        <p:txBody>
          <a:bodyPr wrap="none" lIns="54000" tIns="54000" rIns="54000" bIns="54000" anchor="ctr"/>
          <a:lstStyle/>
          <a:p>
            <a:pPr algn="ctr" defTabSz="762000" rtl="0">
              <a:spcBef>
                <a:spcPct val="50000"/>
              </a:spcBef>
            </a:pPr>
            <a:r>
              <a:rPr lang="ru-RU" sz="1300" b="0" i="0" u="none" baseline="0">
                <a:solidFill>
                  <a:srgbClr val="000000"/>
                </a:solidFill>
                <a:latin typeface="Arial"/>
                <a:cs typeface="Arial"/>
              </a:rPr>
              <a:t>2</a:t>
            </a:r>
            <a:endParaRPr lang="ru" sz="13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5" name="Oval 30"/>
          <p:cNvSpPr>
            <a:spLocks noChangeArrowheads="1"/>
          </p:cNvSpPr>
          <p:nvPr/>
        </p:nvSpPr>
        <p:spPr bwMode="auto">
          <a:xfrm>
            <a:off x="865850" y="3932431"/>
            <a:ext cx="365760" cy="360000"/>
          </a:xfrm>
          <a:prstGeom prst="ellipse">
            <a:avLst/>
          </a:prstGeom>
          <a:solidFill>
            <a:schemeClr val="bg1"/>
          </a:solidFill>
          <a:ln w="19050" cmpd="sng">
            <a:solidFill>
              <a:srgbClr val="00589F"/>
            </a:solidFill>
            <a:round/>
            <a:headEnd/>
            <a:tailEnd/>
          </a:ln>
          <a:effectLst/>
        </p:spPr>
        <p:txBody>
          <a:bodyPr wrap="none" lIns="54000" tIns="54000" rIns="54000" bIns="54000" anchor="ctr"/>
          <a:lstStyle/>
          <a:p>
            <a:pPr algn="ctr" defTabSz="762000" rtl="0">
              <a:spcBef>
                <a:spcPct val="50000"/>
              </a:spcBef>
            </a:pPr>
            <a:r>
              <a:rPr lang="ru-RU" sz="1300" b="0" i="0" u="none" baseline="0">
                <a:solidFill>
                  <a:srgbClr val="000000"/>
                </a:solidFill>
                <a:latin typeface="Arial"/>
                <a:cs typeface="Arial"/>
              </a:rPr>
              <a:t>3</a:t>
            </a:r>
            <a:endParaRPr lang="ru" sz="13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6244" y="4724401"/>
            <a:ext cx="1112109" cy="1524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54999" y="4711008"/>
            <a:ext cx="1592544" cy="159868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/>
          </p:cNvGraphicFramePr>
          <p:nvPr/>
        </p:nvGraphicFramePr>
        <p:xfrm>
          <a:off x="1588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161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28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tangle 69" hidden="1"/>
          <p:cNvSpPr/>
          <p:nvPr>
            <p:custDataLst>
              <p:tags r:id="rId2"/>
            </p:custDataLst>
          </p:nvPr>
        </p:nvSpPr>
        <p:spPr bwMode="auto">
          <a:xfrm>
            <a:off x="0" y="2"/>
            <a:ext cx="292388" cy="276999"/>
          </a:xfrm>
          <a:prstGeom prst="rect">
            <a:avLst/>
          </a:prstGeom>
          <a:solidFill>
            <a:scrgbClr r="0" g="0" b="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ctr" defTabSz="787234" rtl="0">
              <a:spcBef>
                <a:spcPct val="0"/>
              </a:spcBef>
              <a:spcAft>
                <a:spcPct val="0"/>
              </a:spcAft>
              <a:buClr>
                <a:srgbClr val="204024"/>
              </a:buClr>
              <a:buSzPct val="125000"/>
            </a:pPr>
            <a:endParaRPr lang="ru" sz="14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47" name="Rectangle 46"/>
          <p:cNvSpPr/>
          <p:nvPr/>
        </p:nvSpPr>
        <p:spPr bwMode="auto">
          <a:xfrm>
            <a:off x="1331254" y="768746"/>
            <a:ext cx="7126946" cy="702800"/>
          </a:xfrm>
          <a:prstGeom prst="rect">
            <a:avLst/>
          </a:prstGeom>
          <a:noFill/>
          <a:ln w="25400">
            <a:noFill/>
            <a:prstDash val="solid"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lvl="0" algn="l" rtl="0"/>
            <a:r>
              <a:rPr lang="ru-RU" sz="1400" b="1" i="0" u="none" baseline="0" dirty="0"/>
              <a:t>Участие: </a:t>
            </a:r>
            <a:r>
              <a:rPr lang="ru-RU" sz="1400" b="0" i="0" u="none" baseline="0" dirty="0"/>
              <a:t>Организация группы по управлению проектом, в состав которой входят представители Министерства здравоохранения, руководитель со стороны ЮНИСЕФ, партнеры, и установление каналов связи с Отделом поставок (SD) ЮНИСЕФ.</a:t>
            </a:r>
          </a:p>
        </p:txBody>
      </p:sp>
      <p:sp>
        <p:nvSpPr>
          <p:cNvPr id="50" name="Rectangle 49"/>
          <p:cNvSpPr/>
          <p:nvPr/>
        </p:nvSpPr>
        <p:spPr bwMode="auto">
          <a:xfrm>
            <a:off x="1331254" y="1447800"/>
            <a:ext cx="6781800" cy="381684"/>
          </a:xfrm>
          <a:prstGeom prst="rect">
            <a:avLst/>
          </a:prstGeom>
          <a:noFill/>
          <a:ln w="28575" cmpd="sng">
            <a:noFill/>
            <a:prstDash val="solid"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lvl="0" algn="l" rtl="0"/>
            <a:r>
              <a:rPr lang="ru-RU" sz="1600" b="1" i="0" u="none" baseline="0"/>
              <a:t>Цель</a:t>
            </a:r>
            <a:r>
              <a:rPr lang="ru-RU" sz="1600" b="0" i="0" u="none" baseline="0"/>
              <a:t>: Управление процессом ПООХЦ</a:t>
            </a:r>
          </a:p>
        </p:txBody>
      </p:sp>
      <p:sp>
        <p:nvSpPr>
          <p:cNvPr id="53" name="Rectangle 52"/>
          <p:cNvSpPr/>
          <p:nvPr/>
        </p:nvSpPr>
        <p:spPr bwMode="auto">
          <a:xfrm>
            <a:off x="1340089" y="1999512"/>
            <a:ext cx="6763237" cy="381191"/>
          </a:xfrm>
          <a:prstGeom prst="rect">
            <a:avLst/>
          </a:prstGeom>
          <a:noFill/>
          <a:ln w="28575" cap="flat" cmpd="sng">
            <a:noFill/>
            <a:prstDash val="solid"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lvl="0" algn="l" rtl="0"/>
            <a:r>
              <a:rPr lang="ru-RU" sz="1600" b="1" i="0" u="none" baseline="0"/>
              <a:t>Мероприятия:</a:t>
            </a:r>
          </a:p>
        </p:txBody>
      </p:sp>
      <p:sp>
        <p:nvSpPr>
          <p:cNvPr id="56" name="Rectangle 55"/>
          <p:cNvSpPr/>
          <p:nvPr/>
        </p:nvSpPr>
        <p:spPr bwMode="auto">
          <a:xfrm>
            <a:off x="1825880" y="2601588"/>
            <a:ext cx="6486850" cy="702800"/>
          </a:xfrm>
          <a:prstGeom prst="rect">
            <a:avLst/>
          </a:prstGeom>
          <a:noFill/>
          <a:ln w="25400">
            <a:noFill/>
            <a:prstDash val="solid"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lvl="0" algn="l" rtl="0"/>
            <a:r>
              <a:rPr lang="ru-RU" sz="1400" b="0" i="0" u="none" baseline="0" dirty="0"/>
              <a:t>Содействие в составлении заявки в рамках ПООХЦ</a:t>
            </a:r>
          </a:p>
          <a:p>
            <a:pPr marL="171450" lvl="0" indent="-171450" algn="l" rtl="0">
              <a:buFont typeface="Arial"/>
              <a:buChar char="•"/>
            </a:pPr>
            <a:r>
              <a:rPr lang="ru-RU" sz="1200" b="0" i="0" u="none" baseline="0" dirty="0"/>
              <a:t>Обеспечение соответствия заявки всем требованиям</a:t>
            </a:r>
          </a:p>
          <a:p>
            <a:pPr marL="171450" lvl="0" indent="-171450" algn="l" rtl="0">
              <a:buFont typeface="Arial"/>
              <a:buChar char="•"/>
            </a:pPr>
            <a:r>
              <a:rPr lang="ru-RU" sz="1200" b="0" i="0" u="none" baseline="0" dirty="0"/>
              <a:t>Обеспечение связей с соответствующими мероприятиями по укреплению цепи поставок</a:t>
            </a:r>
            <a:endParaRPr lang="ru" sz="1600" dirty="0"/>
          </a:p>
        </p:txBody>
      </p:sp>
      <p:sp>
        <p:nvSpPr>
          <p:cNvPr id="59" name="Rectangle 58"/>
          <p:cNvSpPr/>
          <p:nvPr/>
        </p:nvSpPr>
        <p:spPr bwMode="auto">
          <a:xfrm>
            <a:off x="1805882" y="3375205"/>
            <a:ext cx="7185718" cy="891995"/>
          </a:xfrm>
          <a:prstGeom prst="rect">
            <a:avLst/>
          </a:prstGeom>
          <a:noFill/>
          <a:ln w="25400">
            <a:noFill/>
            <a:prstDash val="solid"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lvl="0" algn="l" rtl="0"/>
            <a:r>
              <a:rPr lang="ru-RU" sz="1400" b="0" i="0" u="none" baseline="0" dirty="0"/>
              <a:t>Координация оценки готовности медицинских учреждений</a:t>
            </a:r>
          </a:p>
          <a:p>
            <a:pPr marL="171450" lvl="0" indent="-171450" algn="l" rtl="0">
              <a:buFont typeface="Arial"/>
              <a:buChar char="•"/>
            </a:pPr>
            <a:r>
              <a:rPr lang="ru-RU" sz="1200" b="0" i="0" u="none" baseline="0" dirty="0"/>
              <a:t>Подтверждение качества данных путем проверки выборки из собранных данных</a:t>
            </a:r>
          </a:p>
          <a:p>
            <a:pPr marL="171450" lvl="0" indent="-171450" algn="l" rtl="0">
              <a:buFont typeface="Arial"/>
              <a:buChar char="•"/>
            </a:pPr>
            <a:r>
              <a:rPr lang="ru-RU" sz="1200" b="0" i="0" u="none" baseline="0" dirty="0"/>
              <a:t>Обеспечение полного заполнения шаблона и его утверждения Министерством здравоохранения</a:t>
            </a:r>
            <a:endParaRPr lang="ru" sz="1200" dirty="0"/>
          </a:p>
          <a:p>
            <a:pPr marL="171450" lvl="0" indent="-171450" algn="l" rtl="0">
              <a:buFont typeface="Arial"/>
              <a:buChar char="•"/>
            </a:pPr>
            <a:r>
              <a:rPr lang="ru-RU" sz="1200" b="0" i="0" u="none" baseline="0" dirty="0"/>
              <a:t>Обеспечение предоставления Министерством здравоохранения проверенного заполненного шаблона ЮНИСЕФ</a:t>
            </a:r>
          </a:p>
        </p:txBody>
      </p:sp>
      <p:sp>
        <p:nvSpPr>
          <p:cNvPr id="62" name="Rectangle 61"/>
          <p:cNvSpPr/>
          <p:nvPr/>
        </p:nvSpPr>
        <p:spPr bwMode="auto">
          <a:xfrm>
            <a:off x="1813452" y="4297025"/>
            <a:ext cx="7025747" cy="1113175"/>
          </a:xfrm>
          <a:prstGeom prst="rect">
            <a:avLst/>
          </a:prstGeom>
          <a:noFill/>
          <a:ln w="25400" cap="flat" cmpd="sng">
            <a:noFill/>
            <a:prstDash val="solid"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lvl="0" algn="l" rtl="0"/>
            <a:r>
              <a:rPr lang="ru-RU" sz="1400" b="0" i="0" u="none" baseline="0" dirty="0"/>
              <a:t>Контроль процесса развертывания</a:t>
            </a:r>
          </a:p>
          <a:p>
            <a:pPr marL="171450" lvl="0" indent="-171450" algn="l" rtl="0">
              <a:buFont typeface="Arial"/>
              <a:buChar char="•"/>
            </a:pPr>
            <a:r>
              <a:rPr lang="ru-RU" sz="1200" b="0" i="0" u="none" baseline="0" dirty="0"/>
              <a:t>Обеспечение таможенного оформления ОХЦ Министерством здравоохранения без задержек</a:t>
            </a:r>
          </a:p>
          <a:p>
            <a:pPr marL="171450" lvl="0" indent="-171450" algn="l" rtl="0">
              <a:buFont typeface="Arial"/>
              <a:buChar char="•"/>
            </a:pPr>
            <a:r>
              <a:rPr lang="ru-RU" sz="1200" b="0" i="0" u="none" baseline="0" dirty="0"/>
              <a:t>Доведение товаров от поставщиков до мест установки</a:t>
            </a:r>
          </a:p>
          <a:p>
            <a:pPr marL="171450" lvl="0" indent="-171450" algn="l" rtl="0">
              <a:buFont typeface="Arial"/>
              <a:buChar char="•"/>
            </a:pPr>
            <a:r>
              <a:rPr lang="ru-RU" sz="1200" b="0" i="0" u="none" baseline="0" dirty="0"/>
              <a:t>Установление двусторонней коммуникации между учреждениями установки ОХЦ и группой по управлению проектом (PMT)</a:t>
            </a:r>
          </a:p>
          <a:p>
            <a:pPr marL="171450" lvl="0" indent="-171450" algn="l" rtl="0">
              <a:buFont typeface="Arial"/>
              <a:buChar char="•"/>
            </a:pPr>
            <a:r>
              <a:rPr lang="ru-RU" sz="1200" b="0" i="0" u="none" baseline="0" dirty="0"/>
              <a:t>Контроль прогресса установки, ввода в эксплуатацию и статуса обучения</a:t>
            </a:r>
          </a:p>
        </p:txBody>
      </p:sp>
      <p:sp>
        <p:nvSpPr>
          <p:cNvPr id="65" name="Rectangle 64"/>
          <p:cNvSpPr/>
          <p:nvPr/>
        </p:nvSpPr>
        <p:spPr bwMode="auto">
          <a:xfrm>
            <a:off x="1825879" y="5348817"/>
            <a:ext cx="7013319" cy="518583"/>
          </a:xfrm>
          <a:prstGeom prst="rect">
            <a:avLst/>
          </a:prstGeom>
          <a:noFill/>
          <a:ln w="25400" cap="flat" cmpd="sng">
            <a:noFill/>
            <a:prstDash val="solid"/>
            <a:miter lim="800000"/>
            <a:headEnd/>
            <a:tailEnd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lvl="0" algn="l" rtl="0"/>
            <a:r>
              <a:rPr lang="ru-RU" sz="1400" b="0" i="0" u="none" baseline="0" dirty="0"/>
              <a:t>Обеспечение выполнения планового обслуживания и управление последующими развертываниями</a:t>
            </a:r>
          </a:p>
        </p:txBody>
      </p:sp>
      <p:sp>
        <p:nvSpPr>
          <p:cNvPr id="27" name="Oval 30"/>
          <p:cNvSpPr>
            <a:spLocks noChangeArrowheads="1"/>
          </p:cNvSpPr>
          <p:nvPr/>
        </p:nvSpPr>
        <p:spPr bwMode="auto">
          <a:xfrm>
            <a:off x="795023" y="838200"/>
            <a:ext cx="365760" cy="360000"/>
          </a:xfrm>
          <a:prstGeom prst="ellipse">
            <a:avLst/>
          </a:prstGeom>
          <a:solidFill>
            <a:srgbClr val="FFFFFF"/>
          </a:solidFill>
          <a:ln w="19050" cmpd="sng">
            <a:solidFill>
              <a:srgbClr val="00589F"/>
            </a:solidFill>
            <a:round/>
            <a:headEnd/>
            <a:tailEnd/>
          </a:ln>
          <a:effectLst/>
        </p:spPr>
        <p:txBody>
          <a:bodyPr wrap="none" lIns="54000" tIns="54000" rIns="54000" bIns="54000" anchor="ctr"/>
          <a:lstStyle/>
          <a:p>
            <a:pPr algn="ctr" defTabSz="762000" rtl="0">
              <a:spcBef>
                <a:spcPct val="50000"/>
              </a:spcBef>
            </a:pPr>
            <a:r>
              <a:rPr lang="ru-RU" sz="1300" b="0" i="0" u="none" baseline="0">
                <a:solidFill>
                  <a:srgbClr val="000000"/>
                </a:solidFill>
                <a:latin typeface="Arial"/>
                <a:cs typeface="Arial"/>
              </a:rPr>
              <a:t>1</a:t>
            </a:r>
            <a:endParaRPr lang="ru" sz="13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8" name="Oval 30"/>
          <p:cNvSpPr>
            <a:spLocks noChangeArrowheads="1"/>
          </p:cNvSpPr>
          <p:nvPr/>
        </p:nvSpPr>
        <p:spPr bwMode="auto">
          <a:xfrm>
            <a:off x="795023" y="1457939"/>
            <a:ext cx="365760" cy="360000"/>
          </a:xfrm>
          <a:prstGeom prst="ellipse">
            <a:avLst/>
          </a:prstGeom>
          <a:solidFill>
            <a:srgbClr val="FFFFFF"/>
          </a:solidFill>
          <a:ln w="19050" cmpd="sng">
            <a:solidFill>
              <a:srgbClr val="00589F"/>
            </a:solidFill>
            <a:round/>
            <a:headEnd/>
            <a:tailEnd/>
          </a:ln>
          <a:effectLst/>
        </p:spPr>
        <p:txBody>
          <a:bodyPr wrap="none" lIns="54000" tIns="54000" rIns="54000" bIns="54000" anchor="ctr"/>
          <a:lstStyle/>
          <a:p>
            <a:pPr algn="ctr" defTabSz="762000" rtl="0">
              <a:spcBef>
                <a:spcPct val="50000"/>
              </a:spcBef>
            </a:pPr>
            <a:r>
              <a:rPr lang="ru-RU" sz="1300" b="0" i="0" u="none" baseline="0">
                <a:solidFill>
                  <a:srgbClr val="000000"/>
                </a:solidFill>
                <a:latin typeface="Arial"/>
                <a:cs typeface="Arial"/>
              </a:rPr>
              <a:t>2</a:t>
            </a:r>
            <a:endParaRPr lang="ru" sz="13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9" name="Oval 30"/>
          <p:cNvSpPr>
            <a:spLocks noChangeArrowheads="1"/>
          </p:cNvSpPr>
          <p:nvPr/>
        </p:nvSpPr>
        <p:spPr bwMode="auto">
          <a:xfrm>
            <a:off x="795023" y="1997614"/>
            <a:ext cx="365760" cy="360000"/>
          </a:xfrm>
          <a:prstGeom prst="ellipse">
            <a:avLst/>
          </a:prstGeom>
          <a:solidFill>
            <a:srgbClr val="FFFFFF"/>
          </a:solidFill>
          <a:ln w="19050" cmpd="sng">
            <a:solidFill>
              <a:srgbClr val="00589F"/>
            </a:solidFill>
            <a:round/>
            <a:headEnd/>
            <a:tailEnd/>
          </a:ln>
          <a:effectLst/>
        </p:spPr>
        <p:txBody>
          <a:bodyPr wrap="none" lIns="54000" tIns="54000" rIns="54000" bIns="54000" anchor="ctr"/>
          <a:lstStyle/>
          <a:p>
            <a:pPr algn="ctr" defTabSz="762000" rtl="0">
              <a:spcBef>
                <a:spcPct val="50000"/>
              </a:spcBef>
            </a:pPr>
            <a:r>
              <a:rPr lang="ru-RU" sz="1300" b="0" i="0" u="none" baseline="0">
                <a:solidFill>
                  <a:srgbClr val="000000"/>
                </a:solidFill>
                <a:latin typeface="Arial"/>
                <a:cs typeface="Arial"/>
              </a:rPr>
              <a:t>3</a:t>
            </a:r>
            <a:endParaRPr lang="ru" sz="13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6" name="Rectangle 35"/>
          <p:cNvSpPr/>
          <p:nvPr/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 rtl="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ru" dirty="0" smtClean="0"/>
          </a:p>
        </p:txBody>
      </p:sp>
      <p:sp>
        <p:nvSpPr>
          <p:cNvPr id="37" name="Title 1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56182" y="106680"/>
            <a:ext cx="848781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defTabSz="911135" rtl="0" fontAlgn="base">
              <a:spcBef>
                <a:spcPct val="0"/>
              </a:spcBef>
              <a:spcAft>
                <a:spcPct val="0"/>
              </a:spcAft>
              <a:tabLst>
                <a:tab pos="368907" algn="l"/>
              </a:tabLst>
              <a:defRPr/>
            </a:pPr>
            <a:r>
              <a:rPr lang="ru-RU" sz="1400" b="1" i="0" u="none" baseline="0" dirty="0">
                <a:solidFill>
                  <a:schemeClr val="bg1"/>
                </a:solidFill>
                <a:latin typeface="Arial Narrow"/>
                <a:cs typeface="Arial Narrow"/>
              </a:rPr>
              <a:t>Группа по управлению проектом: Рабочее задание </a:t>
            </a:r>
            <a:endParaRPr lang="ru" sz="1400" b="1" dirty="0">
              <a:solidFill>
                <a:schemeClr val="bg1"/>
              </a:solidFill>
              <a:latin typeface="Arial Narrow"/>
              <a:cs typeface="Arial Narrow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353423" y="2628835"/>
            <a:ext cx="274320" cy="274320"/>
          </a:xfrm>
          <a:prstGeom prst="rect">
            <a:avLst/>
          </a:prstGeom>
          <a:solidFill>
            <a:schemeClr val="bg1"/>
          </a:solidFill>
          <a:ln w="19050" cmpd="sng">
            <a:solidFill>
              <a:srgbClr val="0058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2000" rtl="0">
              <a:spcBef>
                <a:spcPct val="50000"/>
              </a:spcBef>
            </a:pPr>
            <a:r>
              <a:rPr lang="ru-RU" sz="1300" b="0" i="0" u="none" baseline="0">
                <a:solidFill>
                  <a:srgbClr val="000000"/>
                </a:solidFill>
                <a:cs typeface="Arial"/>
              </a:rPr>
              <a:t>a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353423" y="3359030"/>
            <a:ext cx="274320" cy="274320"/>
          </a:xfrm>
          <a:prstGeom prst="rect">
            <a:avLst/>
          </a:prstGeom>
          <a:solidFill>
            <a:schemeClr val="bg1"/>
          </a:solidFill>
          <a:ln w="19050" cmpd="sng">
            <a:solidFill>
              <a:srgbClr val="0058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2000" rtl="0">
              <a:spcBef>
                <a:spcPct val="50000"/>
              </a:spcBef>
            </a:pPr>
            <a:r>
              <a:rPr lang="ru-RU" sz="1300" b="0" i="0" u="none" baseline="0">
                <a:solidFill>
                  <a:srgbClr val="000000"/>
                </a:solidFill>
                <a:cs typeface="Arial"/>
              </a:rPr>
              <a:t>b</a:t>
            </a:r>
            <a:endParaRPr lang="ru" sz="13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353423" y="4236484"/>
            <a:ext cx="274320" cy="274320"/>
          </a:xfrm>
          <a:prstGeom prst="rect">
            <a:avLst/>
          </a:prstGeom>
          <a:solidFill>
            <a:schemeClr val="bg1"/>
          </a:solidFill>
          <a:ln w="19050" cmpd="sng">
            <a:solidFill>
              <a:srgbClr val="0058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2000" rtl="0">
              <a:spcBef>
                <a:spcPct val="50000"/>
              </a:spcBef>
            </a:pPr>
            <a:r>
              <a:rPr lang="ru-RU" sz="1300" b="0" i="0" u="none" baseline="0">
                <a:solidFill>
                  <a:srgbClr val="000000"/>
                </a:solidFill>
                <a:cs typeface="Arial"/>
              </a:rPr>
              <a:t>c</a:t>
            </a:r>
            <a:endParaRPr lang="ru" sz="13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353423" y="5364480"/>
            <a:ext cx="274320" cy="274320"/>
          </a:xfrm>
          <a:prstGeom prst="rect">
            <a:avLst/>
          </a:prstGeom>
          <a:solidFill>
            <a:schemeClr val="bg1"/>
          </a:solidFill>
          <a:ln w="19050" cmpd="sng">
            <a:solidFill>
              <a:srgbClr val="0058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2000" rtl="0">
              <a:spcBef>
                <a:spcPct val="50000"/>
              </a:spcBef>
            </a:pPr>
            <a:r>
              <a:rPr lang="ru-RU" sz="1300" b="0" i="0" u="none" baseline="0">
                <a:solidFill>
                  <a:srgbClr val="000000"/>
                </a:solidFill>
                <a:cs typeface="Arial"/>
              </a:rPr>
              <a:t>d</a:t>
            </a:r>
            <a:endParaRPr lang="ru" sz="130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87595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46"/>
          <p:cNvSpPr/>
          <p:nvPr/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 rtl="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ru" dirty="0" smtClean="0"/>
          </a:p>
        </p:txBody>
      </p:sp>
      <p:graphicFrame>
        <p:nvGraphicFramePr>
          <p:cNvPr id="26" name="Object 25" hidden="1"/>
          <p:cNvGraphicFramePr>
            <a:graphicFrameLocks/>
          </p:cNvGraphicFramePr>
          <p:nvPr/>
        </p:nvGraphicFramePr>
        <p:xfrm>
          <a:off x="1588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963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187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tangle 69" hidden="1"/>
          <p:cNvSpPr/>
          <p:nvPr>
            <p:custDataLst>
              <p:tags r:id="rId2"/>
            </p:custDataLst>
          </p:nvPr>
        </p:nvSpPr>
        <p:spPr bwMode="auto">
          <a:xfrm>
            <a:off x="0" y="2"/>
            <a:ext cx="292388" cy="276999"/>
          </a:xfrm>
          <a:prstGeom prst="rect">
            <a:avLst/>
          </a:prstGeom>
          <a:solidFill>
            <a:scrgbClr r="0" g="0" b="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ctr" defTabSz="787234" rtl="0">
              <a:spcBef>
                <a:spcPct val="0"/>
              </a:spcBef>
              <a:spcAft>
                <a:spcPct val="0"/>
              </a:spcAft>
              <a:buClr>
                <a:srgbClr val="204024"/>
              </a:buClr>
              <a:buSzPct val="125000"/>
            </a:pPr>
            <a:endParaRPr lang="ru" sz="14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39" name="Title 1"/>
          <p:cNvSpPr txBox="1">
            <a:spLocks/>
          </p:cNvSpPr>
          <p:nvPr/>
        </p:nvSpPr>
        <p:spPr bwMode="gray">
          <a:xfrm>
            <a:off x="656588" y="106680"/>
            <a:ext cx="650621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defTabSz="911135" rtl="0" fontAlgn="base">
              <a:spcBef>
                <a:spcPct val="0"/>
              </a:spcBef>
              <a:spcAft>
                <a:spcPct val="0"/>
              </a:spcAft>
              <a:tabLst>
                <a:tab pos="368907" algn="l"/>
              </a:tabLst>
              <a:defRPr/>
            </a:pPr>
            <a:r>
              <a:rPr lang="ru-RU" sz="1400" b="1" i="0" u="none" baseline="0" dirty="0">
                <a:solidFill>
                  <a:schemeClr val="bg1"/>
                </a:solidFill>
                <a:latin typeface="Arial Narrow"/>
                <a:cs typeface="Arial Narrow"/>
              </a:rPr>
              <a:t>Этапы разработки плана оперативного развертывания</a:t>
            </a:r>
          </a:p>
          <a:p>
            <a:pPr algn="l" defTabSz="911135" rtl="0" fontAlgn="base">
              <a:spcBef>
                <a:spcPct val="0"/>
              </a:spcBef>
              <a:spcAft>
                <a:spcPct val="0"/>
              </a:spcAft>
              <a:tabLst>
                <a:tab pos="368907" algn="l"/>
              </a:tabLst>
              <a:defRPr/>
            </a:pPr>
            <a:endParaRPr lang="ru" sz="1400" kern="1200" dirty="0">
              <a:solidFill>
                <a:srgbClr val="000026"/>
              </a:solidFill>
              <a:latin typeface="Arial Narrow"/>
              <a:cs typeface="Arial Narrow"/>
            </a:endParaRPr>
          </a:p>
        </p:txBody>
      </p:sp>
      <p:grpSp>
        <p:nvGrpSpPr>
          <p:cNvPr id="156" name="Group 155"/>
          <p:cNvGrpSpPr/>
          <p:nvPr/>
        </p:nvGrpSpPr>
        <p:grpSpPr>
          <a:xfrm>
            <a:off x="381000" y="1464469"/>
            <a:ext cx="6096000" cy="615170"/>
            <a:chOff x="782219" y="1260664"/>
            <a:chExt cx="6602329" cy="615170"/>
          </a:xfrm>
          <a:noFill/>
        </p:grpSpPr>
        <p:sp>
          <p:nvSpPr>
            <p:cNvPr id="99" name="Rectangle 98"/>
            <p:cNvSpPr/>
            <p:nvPr/>
          </p:nvSpPr>
          <p:spPr bwMode="auto">
            <a:xfrm>
              <a:off x="972174" y="1352614"/>
              <a:ext cx="6412374" cy="523220"/>
            </a:xfrm>
            <a:prstGeom prst="rect">
              <a:avLst/>
            </a:prstGeom>
            <a:grpFill/>
            <a:ln w="3175">
              <a:noFill/>
              <a:prstDash val="dashDot"/>
              <a:miter lim="800000"/>
              <a:headEnd/>
              <a:tailEnd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marL="133350" indent="-137160" algn="ctr" defTabSz="787400" rtl="0">
                <a:buClr>
                  <a:srgbClr val="204024"/>
                </a:buClr>
                <a:buSzPct val="125000"/>
                <a:buFont typeface="Arial" pitchFamily="34" charset="0"/>
                <a:buChar char="•"/>
              </a:pPr>
              <a:endParaRPr lang="ru" sz="1300" dirty="0" smtClean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1230644" y="1352614"/>
              <a:ext cx="6153904" cy="492443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lvl="0" algn="l" rtl="0"/>
              <a:r>
                <a:rPr lang="ru-RU" sz="1300" b="0" i="0" u="none" baseline="0" dirty="0">
                  <a:latin typeface="Arial"/>
                  <a:cs typeface="Arial"/>
                </a:rPr>
                <a:t>Список мест установки </a:t>
              </a:r>
              <a:r>
                <a:rPr lang="ru-RU" sz="1300" b="0" i="1" u="none" baseline="0" dirty="0">
                  <a:latin typeface="Arial"/>
                  <a:cs typeface="Arial"/>
                </a:rPr>
                <a:t>(название учреждения, адрес, Ф.И.О контактного лица и контактные данные, координаты GPS при наличии)</a:t>
              </a:r>
              <a:r>
                <a:rPr lang="ru-RU" sz="1300" b="0" i="0" u="none" baseline="0" dirty="0">
                  <a:latin typeface="Arial"/>
                  <a:cs typeface="Arial"/>
                </a:rPr>
                <a:t> по типу оборудования </a:t>
              </a:r>
              <a:endParaRPr lang="ru" sz="1300" dirty="0">
                <a:latin typeface="Arial"/>
                <a:cs typeface="Arial"/>
              </a:endParaRPr>
            </a:p>
          </p:txBody>
        </p:sp>
        <p:sp>
          <p:nvSpPr>
            <p:cNvPr id="106" name="Oval 30"/>
            <p:cNvSpPr>
              <a:spLocks noChangeArrowheads="1"/>
            </p:cNvSpPr>
            <p:nvPr/>
          </p:nvSpPr>
          <p:spPr bwMode="auto">
            <a:xfrm>
              <a:off x="782219" y="1260664"/>
              <a:ext cx="396140" cy="360000"/>
            </a:xfrm>
            <a:prstGeom prst="ellipse">
              <a:avLst/>
            </a:prstGeom>
            <a:grpFill/>
            <a:ln w="19050" cmpd="sng">
              <a:solidFill>
                <a:srgbClr val="00589F"/>
              </a:solidFill>
              <a:round/>
              <a:headEnd/>
              <a:tailEnd/>
            </a:ln>
            <a:effectLst/>
          </p:spPr>
          <p:txBody>
            <a:bodyPr wrap="none" lIns="54000" tIns="54000" rIns="54000" bIns="54000" anchor="ctr"/>
            <a:lstStyle/>
            <a:p>
              <a:pPr algn="ctr" defTabSz="762000" rtl="0">
                <a:spcBef>
                  <a:spcPct val="50000"/>
                </a:spcBef>
              </a:pPr>
              <a:r>
                <a:rPr lang="ru-RU" sz="1300" b="0" i="0" u="none" baseline="0">
                  <a:solidFill>
                    <a:srgbClr val="000000"/>
                  </a:solidFill>
                  <a:latin typeface="Arial"/>
                  <a:cs typeface="Arial"/>
                </a:rPr>
                <a:t>1</a:t>
              </a:r>
            </a:p>
          </p:txBody>
        </p:sp>
      </p:grpSp>
      <p:grpSp>
        <p:nvGrpSpPr>
          <p:cNvPr id="157" name="Group 156"/>
          <p:cNvGrpSpPr/>
          <p:nvPr/>
        </p:nvGrpSpPr>
        <p:grpSpPr>
          <a:xfrm>
            <a:off x="381000" y="2079638"/>
            <a:ext cx="6090232" cy="533401"/>
            <a:chOff x="788466" y="2077552"/>
            <a:chExt cx="6596082" cy="697229"/>
          </a:xfrm>
          <a:noFill/>
        </p:grpSpPr>
        <p:sp>
          <p:nvSpPr>
            <p:cNvPr id="113" name="Rectangle 112"/>
            <p:cNvSpPr/>
            <p:nvPr/>
          </p:nvSpPr>
          <p:spPr bwMode="auto">
            <a:xfrm>
              <a:off x="972174" y="2169504"/>
              <a:ext cx="6412374" cy="605277"/>
            </a:xfrm>
            <a:prstGeom prst="rect">
              <a:avLst/>
            </a:prstGeom>
            <a:grpFill/>
            <a:ln w="3175">
              <a:noFill/>
              <a:prstDash val="dashDot"/>
              <a:miter lim="800000"/>
              <a:headEnd/>
              <a:tailEnd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marL="133350" indent="-137160" algn="ctr" defTabSz="787400" rtl="0">
                <a:buClr>
                  <a:srgbClr val="204024"/>
                </a:buClr>
                <a:buSzPct val="125000"/>
                <a:buFont typeface="Arial" pitchFamily="34" charset="0"/>
                <a:buChar char="•"/>
              </a:pPr>
              <a:endParaRPr lang="ru" sz="1300" dirty="0" smtClean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14" name="TextBox 113"/>
            <p:cNvSpPr txBox="1"/>
            <p:nvPr/>
          </p:nvSpPr>
          <p:spPr>
            <a:xfrm>
              <a:off x="1230644" y="2169504"/>
              <a:ext cx="5828242" cy="382192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lvl="0" algn="l" rtl="0"/>
              <a:r>
                <a:rPr lang="ru-RU" sz="1300" b="0" i="0" u="none" baseline="0">
                  <a:latin typeface="Arial"/>
                  <a:cs typeface="Arial"/>
                </a:rPr>
                <a:t>Подтверждение готовности места установки (см. шаблон Excel) </a:t>
              </a:r>
              <a:endParaRPr lang="ru" sz="1300" dirty="0">
                <a:latin typeface="Arial"/>
                <a:cs typeface="Arial"/>
              </a:endParaRPr>
            </a:p>
          </p:txBody>
        </p:sp>
        <p:sp>
          <p:nvSpPr>
            <p:cNvPr id="115" name="Oval 30"/>
            <p:cNvSpPr>
              <a:spLocks noChangeArrowheads="1"/>
            </p:cNvSpPr>
            <p:nvPr/>
          </p:nvSpPr>
          <p:spPr bwMode="auto">
            <a:xfrm>
              <a:off x="788466" y="2077552"/>
              <a:ext cx="396140" cy="478099"/>
            </a:xfrm>
            <a:prstGeom prst="ellipse">
              <a:avLst/>
            </a:prstGeom>
            <a:grpFill/>
            <a:ln w="19050" cmpd="sng">
              <a:solidFill>
                <a:srgbClr val="00589F"/>
              </a:solidFill>
              <a:round/>
              <a:headEnd/>
              <a:tailEnd/>
            </a:ln>
            <a:effectLst/>
          </p:spPr>
          <p:txBody>
            <a:bodyPr wrap="none" lIns="54000" tIns="54000" rIns="54000" bIns="54000" anchor="ctr"/>
            <a:lstStyle/>
            <a:p>
              <a:pPr algn="ctr" defTabSz="762000" rtl="0">
                <a:spcBef>
                  <a:spcPct val="50000"/>
                </a:spcBef>
              </a:pPr>
              <a:r>
                <a:rPr lang="ru-RU" sz="1300" b="0" i="0" u="none" baseline="0">
                  <a:solidFill>
                    <a:srgbClr val="000000"/>
                  </a:solidFill>
                  <a:latin typeface="Arial"/>
                  <a:cs typeface="Arial"/>
                </a:rPr>
                <a:t>2</a:t>
              </a:r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381000" y="2613039"/>
            <a:ext cx="6090232" cy="592874"/>
            <a:chOff x="788466" y="2785258"/>
            <a:chExt cx="6596082" cy="782648"/>
          </a:xfrm>
          <a:noFill/>
        </p:grpSpPr>
        <p:sp>
          <p:nvSpPr>
            <p:cNvPr id="117" name="Rectangle 116"/>
            <p:cNvSpPr/>
            <p:nvPr/>
          </p:nvSpPr>
          <p:spPr bwMode="auto">
            <a:xfrm>
              <a:off x="972174" y="2877208"/>
              <a:ext cx="6412374" cy="690698"/>
            </a:xfrm>
            <a:prstGeom prst="rect">
              <a:avLst/>
            </a:prstGeom>
            <a:grpFill/>
            <a:ln w="3175">
              <a:noFill/>
              <a:prstDash val="dashDot"/>
              <a:miter lim="800000"/>
              <a:headEnd/>
              <a:tailEnd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marL="133350" indent="-137160" algn="ctr" defTabSz="787400" rtl="0">
                <a:buClr>
                  <a:srgbClr val="204024"/>
                </a:buClr>
                <a:buSzPct val="125000"/>
                <a:buFont typeface="Arial" pitchFamily="34" charset="0"/>
                <a:buChar char="•"/>
              </a:pPr>
              <a:endParaRPr lang="ru" sz="1300" dirty="0" smtClean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18" name="TextBox 117"/>
            <p:cNvSpPr txBox="1"/>
            <p:nvPr/>
          </p:nvSpPr>
          <p:spPr>
            <a:xfrm>
              <a:off x="1230644" y="2809970"/>
              <a:ext cx="6147655" cy="650070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lvl="0" algn="l" rtl="0"/>
              <a:r>
                <a:rPr lang="ru-RU" sz="1300" b="0" i="0" u="none" baseline="0" dirty="0">
                  <a:latin typeface="Arial"/>
                  <a:cs typeface="Arial"/>
                </a:rPr>
                <a:t>Определение на центральном уровне кадрового состава персонала, подлежащего обучению при условии единого пакета услуг</a:t>
              </a:r>
              <a:endParaRPr lang="ru" sz="1300" dirty="0">
                <a:latin typeface="Arial"/>
                <a:cs typeface="Arial"/>
              </a:endParaRPr>
            </a:p>
          </p:txBody>
        </p:sp>
        <p:sp>
          <p:nvSpPr>
            <p:cNvPr id="119" name="Oval 30"/>
            <p:cNvSpPr>
              <a:spLocks noChangeArrowheads="1"/>
            </p:cNvSpPr>
            <p:nvPr/>
          </p:nvSpPr>
          <p:spPr bwMode="auto">
            <a:xfrm>
              <a:off x="788466" y="2785258"/>
              <a:ext cx="396140" cy="482837"/>
            </a:xfrm>
            <a:prstGeom prst="ellipse">
              <a:avLst/>
            </a:prstGeom>
            <a:grpFill/>
            <a:ln w="19050" cmpd="sng">
              <a:solidFill>
                <a:srgbClr val="00589F"/>
              </a:solidFill>
              <a:round/>
              <a:headEnd/>
              <a:tailEnd/>
            </a:ln>
            <a:effectLst/>
          </p:spPr>
          <p:txBody>
            <a:bodyPr wrap="none" lIns="54000" tIns="54000" rIns="54000" bIns="54000" anchor="ctr"/>
            <a:lstStyle/>
            <a:p>
              <a:pPr algn="ctr" defTabSz="762000" rtl="0">
                <a:spcBef>
                  <a:spcPct val="50000"/>
                </a:spcBef>
              </a:pPr>
              <a:r>
                <a:rPr lang="ru-RU" sz="1300" b="0" i="0" u="none" baseline="0">
                  <a:solidFill>
                    <a:srgbClr val="000000"/>
                  </a:solidFill>
                  <a:latin typeface="Arial"/>
                  <a:cs typeface="Arial"/>
                </a:rPr>
                <a:t>3</a:t>
              </a:r>
            </a:p>
          </p:txBody>
        </p:sp>
      </p:grpSp>
      <p:grpSp>
        <p:nvGrpSpPr>
          <p:cNvPr id="162" name="Group 161"/>
          <p:cNvGrpSpPr/>
          <p:nvPr/>
        </p:nvGrpSpPr>
        <p:grpSpPr>
          <a:xfrm>
            <a:off x="381000" y="4894644"/>
            <a:ext cx="6106750" cy="365760"/>
            <a:chOff x="794716" y="5708029"/>
            <a:chExt cx="6613971" cy="323691"/>
          </a:xfrm>
          <a:noFill/>
        </p:grpSpPr>
        <p:sp>
          <p:nvSpPr>
            <p:cNvPr id="133" name="Rectangle 132"/>
            <p:cNvSpPr/>
            <p:nvPr/>
          </p:nvSpPr>
          <p:spPr bwMode="auto">
            <a:xfrm>
              <a:off x="996311" y="5708030"/>
              <a:ext cx="6412376" cy="321389"/>
            </a:xfrm>
            <a:prstGeom prst="rect">
              <a:avLst/>
            </a:prstGeom>
            <a:grpFill/>
            <a:ln w="3175">
              <a:noFill/>
              <a:prstDash val="dashDot"/>
              <a:miter lim="800000"/>
              <a:headEnd/>
              <a:tailEnd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marL="133350" indent="-137160" algn="ctr" defTabSz="787400" rtl="0">
                <a:buClr>
                  <a:srgbClr val="204024"/>
                </a:buClr>
                <a:buSzPct val="125000"/>
                <a:buFont typeface="Arial" pitchFamily="34" charset="0"/>
                <a:buChar char="•"/>
              </a:pPr>
              <a:endParaRPr lang="ru" sz="1300" dirty="0" smtClean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34" name="TextBox 133"/>
            <p:cNvSpPr txBox="1"/>
            <p:nvPr/>
          </p:nvSpPr>
          <p:spPr>
            <a:xfrm>
              <a:off x="1230644" y="5721642"/>
              <a:ext cx="5828242" cy="258758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l" rtl="0"/>
              <a:r>
                <a:rPr lang="ru-RU" sz="1300" b="0" i="0" u="none" baseline="0">
                  <a:latin typeface="Arial"/>
                  <a:cs typeface="Arial"/>
                </a:rPr>
                <a:t>Определение требуемых документов на импорт и процесса таможенного оформления</a:t>
              </a:r>
              <a:endParaRPr lang="ru" sz="1300" dirty="0" smtClean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35" name="Oval 30"/>
            <p:cNvSpPr>
              <a:spLocks noChangeArrowheads="1"/>
            </p:cNvSpPr>
            <p:nvPr/>
          </p:nvSpPr>
          <p:spPr bwMode="auto">
            <a:xfrm>
              <a:off x="794716" y="5708029"/>
              <a:ext cx="396140" cy="323691"/>
            </a:xfrm>
            <a:prstGeom prst="ellipse">
              <a:avLst/>
            </a:prstGeom>
            <a:grpFill/>
            <a:ln w="19050" cmpd="sng">
              <a:solidFill>
                <a:srgbClr val="00589F"/>
              </a:solidFill>
              <a:round/>
              <a:headEnd/>
              <a:tailEnd/>
            </a:ln>
            <a:effectLst/>
          </p:spPr>
          <p:txBody>
            <a:bodyPr wrap="none" lIns="54000" tIns="54000" rIns="54000" bIns="54000" anchor="ctr"/>
            <a:lstStyle/>
            <a:p>
              <a:pPr algn="ctr" defTabSz="762000" rtl="0">
                <a:spcBef>
                  <a:spcPct val="50000"/>
                </a:spcBef>
              </a:pPr>
              <a:r>
                <a:rPr lang="ru-RU" sz="1300" b="0" i="0" u="none" baseline="0">
                  <a:solidFill>
                    <a:srgbClr val="000000"/>
                  </a:solidFill>
                  <a:latin typeface="Arial"/>
                  <a:cs typeface="Arial"/>
                </a:rPr>
                <a:t>6</a:t>
              </a:r>
            </a:p>
          </p:txBody>
        </p:sp>
      </p:grpSp>
      <p:sp>
        <p:nvSpPr>
          <p:cNvPr id="165" name="Rectangle 3"/>
          <p:cNvSpPr txBox="1"/>
          <p:nvPr/>
        </p:nvSpPr>
        <p:spPr bwMode="gray">
          <a:xfrm>
            <a:off x="6465463" y="1905000"/>
            <a:ext cx="2503937" cy="4313876"/>
          </a:xfrm>
          <a:prstGeom prst="rect">
            <a:avLst/>
          </a:prstGeom>
          <a:solidFill>
            <a:srgbClr val="00589F">
              <a:alpha val="27000"/>
            </a:srgbClr>
          </a:solidFill>
          <a:ln w="12700" algn="ctr">
            <a:noFill/>
            <a:round/>
            <a:headEnd/>
            <a:tailEnd/>
          </a:ln>
          <a:effectLst/>
        </p:spPr>
        <p:txBody>
          <a:bodyPr anchor="ctr"/>
          <a:lstStyle>
            <a:defPPr>
              <a:defRPr lang="ru"/>
            </a:defPPr>
            <a:lvl1pPr fontAlgn="base">
              <a:spcBef>
                <a:spcPts val="200"/>
              </a:spcBef>
              <a:spcAft>
                <a:spcPts val="200"/>
              </a:spcAft>
              <a:defRPr sz="1400" b="0" u="none">
                <a:solidFill>
                  <a:srgbClr val="FFFFFF"/>
                </a:solidFill>
                <a:ea typeface="MS PGothic" pitchFamily="34" charset="-128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271463" lvl="1" indent="-271463" algn="l" rtl="0">
              <a:spcBef>
                <a:spcPts val="4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1000" b="0" i="0" u="none" baseline="0" dirty="0">
                <a:latin typeface="Arial"/>
                <a:cs typeface="Arial"/>
              </a:rPr>
              <a:t>Этот процесс должен выполняться группой по управлению проектом (PMT), прикрепленной к национальной рабочей группе по логистике (NLWG) </a:t>
            </a:r>
            <a:r>
              <a:rPr lang="ru-RU" sz="1000" dirty="0">
                <a:latin typeface="Arial"/>
                <a:cs typeface="Arial"/>
              </a:rPr>
              <a:t/>
            </a:r>
            <a:br>
              <a:rPr lang="ru-RU" sz="1000" dirty="0">
                <a:latin typeface="Arial"/>
                <a:cs typeface="Arial"/>
              </a:rPr>
            </a:br>
            <a:r>
              <a:rPr lang="ru-RU" sz="1000" b="0" i="0" u="none" baseline="0" dirty="0">
                <a:latin typeface="Arial"/>
                <a:cs typeface="Arial"/>
              </a:rPr>
              <a:t>или технической рабочей группе (TWG) в Министерстве здравоохранения</a:t>
            </a:r>
            <a:endParaRPr lang="ru" sz="1000" dirty="0" smtClean="0">
              <a:latin typeface="Arial"/>
              <a:cs typeface="Arial"/>
            </a:endParaRPr>
          </a:p>
          <a:p>
            <a:pPr marL="271463" lvl="1" indent="-271463" algn="l" rtl="0">
              <a:spcBef>
                <a:spcPts val="4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1000" b="0" i="0" u="none" baseline="0" dirty="0">
                <a:latin typeface="Arial"/>
                <a:cs typeface="Arial"/>
              </a:rPr>
              <a:t>После получения плана оперативного развертывания будет выполнена оценка плана, ЮНИСЕФ объявит тендеры на совокупность услуг и разработает оцененный оперативный план (COP).</a:t>
            </a:r>
          </a:p>
          <a:p>
            <a:pPr marL="271463" lvl="1" indent="-271463" algn="l" rtl="0">
              <a:spcBef>
                <a:spcPts val="4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1000" b="0" i="0" u="none" baseline="0" dirty="0">
                <a:latin typeface="Arial"/>
                <a:cs typeface="Arial"/>
              </a:rPr>
              <a:t>После согласования оцененного оперативного плана (COP) с Министерством здравоохранения и Гави в Министерство здравоохранения направляется смета расходов</a:t>
            </a:r>
          </a:p>
          <a:p>
            <a:pPr marL="271463" lvl="1" indent="-271463" algn="l" rtl="0">
              <a:spcBef>
                <a:spcPts val="4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1000" b="0" i="0" u="none" baseline="0" dirty="0">
                <a:latin typeface="Arial"/>
                <a:cs typeface="Arial"/>
              </a:rPr>
              <a:t>После передачи средств Министерства здравоохранения </a:t>
            </a:r>
            <a:r>
              <a:rPr lang="ru-RU" sz="1000" dirty="0">
                <a:latin typeface="Arial"/>
                <a:cs typeface="Arial"/>
              </a:rPr>
              <a:t/>
            </a:r>
            <a:br>
              <a:rPr lang="ru-RU" sz="1000" dirty="0">
                <a:latin typeface="Arial"/>
                <a:cs typeface="Arial"/>
              </a:rPr>
            </a:br>
            <a:r>
              <a:rPr lang="ru-RU" sz="1000" b="0" i="0" u="none" baseline="0" dirty="0">
                <a:latin typeface="Arial"/>
                <a:cs typeface="Arial"/>
              </a:rPr>
              <a:t>и Гави </a:t>
            </a:r>
            <a:r>
              <a:rPr lang="ru-RU" sz="1000" dirty="0">
                <a:latin typeface="Arial"/>
                <a:cs typeface="Arial"/>
              </a:rPr>
              <a:t/>
            </a:r>
            <a:br>
              <a:rPr lang="ru-RU" sz="1000" dirty="0">
                <a:latin typeface="Arial"/>
                <a:cs typeface="Arial"/>
              </a:rPr>
            </a:br>
            <a:r>
              <a:rPr lang="ru-RU" sz="1000" b="0" i="0" u="none" baseline="0" dirty="0">
                <a:latin typeface="Arial"/>
                <a:cs typeface="Arial"/>
              </a:rPr>
              <a:t>в ЮНИСЕФ начинается закупка </a:t>
            </a:r>
            <a:endParaRPr lang="ru" sz="1000" dirty="0">
              <a:solidFill>
                <a:srgbClr val="000026"/>
              </a:solidFill>
              <a:latin typeface="Arial"/>
              <a:cs typeface="Arial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381000" y="5485958"/>
            <a:ext cx="6084463" cy="457642"/>
            <a:chOff x="794714" y="5692443"/>
            <a:chExt cx="6589836" cy="457642"/>
          </a:xfrm>
          <a:noFill/>
        </p:grpSpPr>
        <p:sp>
          <p:nvSpPr>
            <p:cNvPr id="41" name="Rectangle 40"/>
            <p:cNvSpPr/>
            <p:nvPr/>
          </p:nvSpPr>
          <p:spPr bwMode="auto">
            <a:xfrm>
              <a:off x="972174" y="5692443"/>
              <a:ext cx="6412376" cy="457642"/>
            </a:xfrm>
            <a:prstGeom prst="rect">
              <a:avLst/>
            </a:prstGeom>
            <a:grpFill/>
            <a:ln w="3175">
              <a:noFill/>
              <a:prstDash val="dashDot"/>
              <a:miter lim="800000"/>
              <a:headEnd/>
              <a:tailEnd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marL="133350" indent="-137160" algn="ctr" defTabSz="787400" rtl="0">
                <a:buClr>
                  <a:srgbClr val="204024"/>
                </a:buClr>
                <a:buSzPct val="125000"/>
                <a:buFont typeface="Arial" pitchFamily="34" charset="0"/>
                <a:buChar char="•"/>
              </a:pPr>
              <a:endParaRPr lang="ru" sz="1300" dirty="0" smtClean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1230644" y="5708030"/>
              <a:ext cx="5828242" cy="292388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l" rtl="0"/>
              <a:r>
                <a:rPr lang="ru-RU" sz="1300" b="0" i="0" u="none" baseline="0" dirty="0">
                  <a:latin typeface="Arial"/>
                  <a:cs typeface="Arial"/>
                </a:rPr>
                <a:t>Протокол отклонений (расходы, связанные с отклонениями, возлагаются на Министерство здравоохранения)</a:t>
              </a:r>
              <a:endParaRPr lang="ru" sz="1300" dirty="0" smtClean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43" name="Oval 30"/>
            <p:cNvSpPr>
              <a:spLocks noChangeArrowheads="1"/>
            </p:cNvSpPr>
            <p:nvPr/>
          </p:nvSpPr>
          <p:spPr bwMode="auto">
            <a:xfrm>
              <a:off x="794714" y="5692885"/>
              <a:ext cx="396140" cy="360000"/>
            </a:xfrm>
            <a:prstGeom prst="ellipse">
              <a:avLst/>
            </a:prstGeom>
            <a:grpFill/>
            <a:ln w="19050" cmpd="sng">
              <a:solidFill>
                <a:srgbClr val="00589F"/>
              </a:solidFill>
              <a:round/>
              <a:headEnd/>
              <a:tailEnd/>
            </a:ln>
            <a:effectLst/>
          </p:spPr>
          <p:txBody>
            <a:bodyPr wrap="none" lIns="54000" tIns="54000" rIns="54000" bIns="54000" anchor="ctr"/>
            <a:lstStyle/>
            <a:p>
              <a:pPr algn="ctr" defTabSz="762000" rtl="0">
                <a:spcBef>
                  <a:spcPct val="50000"/>
                </a:spcBef>
              </a:pPr>
              <a:r>
                <a:rPr lang="ru-RU" sz="1300" b="0" i="0" u="none" baseline="0">
                  <a:solidFill>
                    <a:srgbClr val="000000"/>
                  </a:solidFill>
                  <a:latin typeface="Arial"/>
                  <a:cs typeface="Arial"/>
                </a:rPr>
                <a:t>7</a:t>
              </a: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381000" y="3172500"/>
            <a:ext cx="6090232" cy="920452"/>
            <a:chOff x="788466" y="2785258"/>
            <a:chExt cx="6596082" cy="920452"/>
          </a:xfrm>
          <a:noFill/>
        </p:grpSpPr>
        <p:sp>
          <p:nvSpPr>
            <p:cNvPr id="33" name="Rectangle 32"/>
            <p:cNvSpPr/>
            <p:nvPr/>
          </p:nvSpPr>
          <p:spPr bwMode="auto">
            <a:xfrm>
              <a:off x="972174" y="2877208"/>
              <a:ext cx="6412374" cy="738664"/>
            </a:xfrm>
            <a:prstGeom prst="rect">
              <a:avLst/>
            </a:prstGeom>
            <a:grpFill/>
            <a:ln w="3175">
              <a:noFill/>
              <a:prstDash val="dashDot"/>
              <a:miter lim="800000"/>
              <a:headEnd/>
              <a:tailEnd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marL="133350" indent="-137160" algn="ctr" defTabSz="787400" rtl="0">
                <a:buClr>
                  <a:srgbClr val="204024"/>
                </a:buClr>
                <a:buSzPct val="125000"/>
                <a:buFont typeface="Arial" pitchFamily="34" charset="0"/>
                <a:buChar char="•"/>
              </a:pPr>
              <a:endParaRPr lang="ru" sz="1300" dirty="0" smtClean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230644" y="2813158"/>
              <a:ext cx="6147655" cy="892552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lvl="0" algn="l" rtl="0"/>
              <a:r>
                <a:rPr lang="ru-RU" sz="1300" b="0" i="0" u="none" baseline="0" dirty="0">
                  <a:latin typeface="Arial"/>
                  <a:cs typeface="Arial"/>
                </a:rPr>
                <a:t>Определение кадрового состава персонала, подлежащего обучению профилактическому обслуживанию и эксплуатации ОХЦ в каждом медицинском учреждении (оплата суточных и транспортных расходов выполняется Министерством здравоохранения)</a:t>
              </a:r>
              <a:endParaRPr lang="ru" sz="1300" dirty="0">
                <a:latin typeface="Arial"/>
                <a:cs typeface="Arial"/>
              </a:endParaRPr>
            </a:p>
          </p:txBody>
        </p:sp>
        <p:sp>
          <p:nvSpPr>
            <p:cNvPr id="35" name="Oval 30"/>
            <p:cNvSpPr>
              <a:spLocks noChangeArrowheads="1"/>
            </p:cNvSpPr>
            <p:nvPr/>
          </p:nvSpPr>
          <p:spPr bwMode="auto">
            <a:xfrm>
              <a:off x="788466" y="2785258"/>
              <a:ext cx="396140" cy="360000"/>
            </a:xfrm>
            <a:prstGeom prst="ellipse">
              <a:avLst/>
            </a:prstGeom>
            <a:grpFill/>
            <a:ln w="19050" cmpd="sng">
              <a:solidFill>
                <a:srgbClr val="00589F"/>
              </a:solidFill>
              <a:round/>
              <a:headEnd/>
              <a:tailEnd/>
            </a:ln>
            <a:effectLst/>
          </p:spPr>
          <p:txBody>
            <a:bodyPr wrap="none" lIns="54000" tIns="54000" rIns="54000" bIns="54000" anchor="ctr"/>
            <a:lstStyle/>
            <a:p>
              <a:pPr algn="ctr" defTabSz="762000" rtl="0">
                <a:spcBef>
                  <a:spcPct val="50000"/>
                </a:spcBef>
              </a:pPr>
              <a:r>
                <a:rPr lang="ru-RU" sz="1300" b="0" i="0" u="none" baseline="0">
                  <a:solidFill>
                    <a:srgbClr val="000000"/>
                  </a:solidFill>
                  <a:latin typeface="Arial"/>
                  <a:cs typeface="Arial"/>
                </a:rPr>
                <a:t>4</a:t>
              </a: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24600" y="768108"/>
            <a:ext cx="599334" cy="60869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923935" y="762000"/>
            <a:ext cx="2045466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ru-RU" sz="1000" b="0" i="0" u="none" baseline="0" dirty="0">
                <a:solidFill>
                  <a:srgbClr val="063166"/>
                </a:solidFill>
                <a:latin typeface="Arial"/>
                <a:cs typeface="Arial"/>
              </a:rPr>
              <a:t>Укажите всю необходимую информацию о местах установки, обучении, запасных частях, таможенном оформлении и протоколе отклонений в соответствующем шаблоне Excel </a:t>
            </a:r>
          </a:p>
        </p:txBody>
      </p:sp>
      <p:sp>
        <p:nvSpPr>
          <p:cNvPr id="44" name="Rectangle 43"/>
          <p:cNvSpPr/>
          <p:nvPr/>
        </p:nvSpPr>
        <p:spPr>
          <a:xfrm>
            <a:off x="35523" y="65852"/>
            <a:ext cx="4791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914400" rtl="0">
              <a:defRPr/>
            </a:pPr>
            <a:r>
              <a:rPr lang="ru-RU" b="1" i="0" u="none" baseline="0">
                <a:solidFill>
                  <a:schemeClr val="bg1"/>
                </a:solidFill>
                <a:latin typeface="Arial Narrow"/>
                <a:ea typeface="ＭＳ Ｐゴシック"/>
                <a:cs typeface="Arial Narrow"/>
              </a:rPr>
              <a:t>Bi2</a:t>
            </a:r>
            <a:endParaRPr lang="ru" b="1" dirty="0">
              <a:solidFill>
                <a:schemeClr val="bg1"/>
              </a:solidFill>
              <a:latin typeface="Arial Narrow"/>
              <a:ea typeface="ＭＳ Ｐゴシック"/>
              <a:cs typeface="Arial Narrow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10676" y="685800"/>
            <a:ext cx="8757124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rtl="0"/>
            <a:r>
              <a:rPr lang="ru-RU" b="1" i="0" u="none" baseline="0" dirty="0">
                <a:solidFill>
                  <a:srgbClr val="575757"/>
                </a:solidFill>
                <a:latin typeface="Arial"/>
                <a:cs typeface="Arial"/>
              </a:rPr>
              <a:t>Министерство здравоохранения </a:t>
            </a:r>
            <a:r>
              <a:rPr lang="ru-RU" b="1" i="0" u="none" baseline="0" dirty="0" smtClean="0">
                <a:solidFill>
                  <a:srgbClr val="575757"/>
                </a:solidFill>
                <a:latin typeface="Arial"/>
                <a:cs typeface="Arial"/>
              </a:rPr>
              <a:t>должно</a:t>
            </a:r>
            <a:endParaRPr lang="en-US" b="1" i="0" u="none" baseline="0" dirty="0" smtClean="0">
              <a:solidFill>
                <a:srgbClr val="575757"/>
              </a:solidFill>
              <a:latin typeface="Arial"/>
              <a:cs typeface="Arial"/>
            </a:endParaRPr>
          </a:p>
          <a:p>
            <a:pPr algn="l" rtl="0"/>
            <a:r>
              <a:rPr lang="ru-RU" b="1" i="0" u="none" baseline="0" dirty="0" smtClean="0">
                <a:solidFill>
                  <a:srgbClr val="575757"/>
                </a:solidFill>
                <a:latin typeface="Arial"/>
                <a:cs typeface="Arial"/>
              </a:rPr>
              <a:t>Предоставить</a:t>
            </a:r>
            <a:r>
              <a:rPr lang="en-US" b="1" i="0" u="none" baseline="0" dirty="0" smtClean="0">
                <a:solidFill>
                  <a:srgbClr val="575757"/>
                </a:solidFill>
                <a:latin typeface="Arial"/>
                <a:cs typeface="Arial"/>
              </a:rPr>
              <a:t> </a:t>
            </a:r>
            <a:r>
              <a:rPr lang="ru-RU" b="1" i="0" u="none" baseline="0" dirty="0" smtClean="0">
                <a:solidFill>
                  <a:srgbClr val="575757"/>
                </a:solidFill>
                <a:latin typeface="Arial"/>
                <a:cs typeface="Arial"/>
              </a:rPr>
              <a:t>ЮНИСЕФ </a:t>
            </a:r>
            <a:r>
              <a:rPr lang="ru-RU" b="1" i="0" u="none" baseline="0" dirty="0">
                <a:solidFill>
                  <a:srgbClr val="575757"/>
                </a:solidFill>
                <a:latin typeface="Arial"/>
                <a:cs typeface="Arial"/>
              </a:rPr>
              <a:t>следующую информацию:</a:t>
            </a:r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20320" y="1320800"/>
            <a:ext cx="3822700" cy="50800"/>
          </a:xfrm>
          <a:prstGeom prst="rect">
            <a:avLst/>
          </a:prstGeom>
        </p:spPr>
      </p:pic>
      <p:grpSp>
        <p:nvGrpSpPr>
          <p:cNvPr id="159" name="Group 158"/>
          <p:cNvGrpSpPr/>
          <p:nvPr/>
        </p:nvGrpSpPr>
        <p:grpSpPr>
          <a:xfrm>
            <a:off x="381000" y="4059600"/>
            <a:ext cx="6090232" cy="894888"/>
            <a:chOff x="788466" y="3582577"/>
            <a:chExt cx="6596082" cy="894888"/>
          </a:xfrm>
          <a:noFill/>
        </p:grpSpPr>
        <p:sp>
          <p:nvSpPr>
            <p:cNvPr id="121" name="Rectangle 120"/>
            <p:cNvSpPr/>
            <p:nvPr/>
          </p:nvSpPr>
          <p:spPr bwMode="auto">
            <a:xfrm>
              <a:off x="972174" y="3613088"/>
              <a:ext cx="6412374" cy="710489"/>
            </a:xfrm>
            <a:prstGeom prst="rect">
              <a:avLst/>
            </a:prstGeom>
            <a:grpFill/>
            <a:ln w="3175">
              <a:noFill/>
              <a:prstDash val="dashDot"/>
              <a:miter lim="800000"/>
              <a:headEnd/>
              <a:tailEnd/>
            </a:ln>
            <a:effectLst/>
          </p:spPr>
          <p:txBody>
            <a:bodyPr wrap="square" lIns="0" tIns="0" rIns="0" bIns="0" rtlCol="0" anchor="ctr">
              <a:noAutofit/>
            </a:bodyPr>
            <a:lstStyle/>
            <a:p>
              <a:pPr marL="133350" indent="-137160" algn="ctr" defTabSz="787400" rtl="0">
                <a:buClr>
                  <a:srgbClr val="204024"/>
                </a:buClr>
                <a:buSzPct val="125000"/>
                <a:buFont typeface="Arial" pitchFamily="34" charset="0"/>
                <a:buChar char="•"/>
              </a:pPr>
              <a:endParaRPr lang="ru" sz="1300" dirty="0" smtClean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22" name="TextBox 121"/>
            <p:cNvSpPr txBox="1"/>
            <p:nvPr/>
          </p:nvSpPr>
          <p:spPr>
            <a:xfrm>
              <a:off x="1230644" y="3584913"/>
              <a:ext cx="5995092" cy="892552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lvl="0" algn="l" rtl="0"/>
              <a:r>
                <a:rPr lang="ru-RU" sz="1300" b="0" i="0" u="none" baseline="0" dirty="0">
                  <a:latin typeface="Arial"/>
                  <a:cs typeface="Arial"/>
                </a:rPr>
                <a:t>Определение того, какие запасные части необходимо поставить и куда. Министерство здравоохранения будет являться собственником запасных частей и должно обеспечить место для их хранения. Запасные части поставляются только в одно место</a:t>
              </a:r>
              <a:endParaRPr lang="ru" sz="1300" dirty="0">
                <a:latin typeface="Arial"/>
                <a:cs typeface="Arial"/>
              </a:endParaRPr>
            </a:p>
          </p:txBody>
        </p:sp>
        <p:sp>
          <p:nvSpPr>
            <p:cNvPr id="123" name="Oval 30"/>
            <p:cNvSpPr>
              <a:spLocks noChangeArrowheads="1"/>
            </p:cNvSpPr>
            <p:nvPr/>
          </p:nvSpPr>
          <p:spPr bwMode="auto">
            <a:xfrm>
              <a:off x="788466" y="3582577"/>
              <a:ext cx="396140" cy="360000"/>
            </a:xfrm>
            <a:prstGeom prst="ellipse">
              <a:avLst/>
            </a:prstGeom>
            <a:grpFill/>
            <a:ln w="19050" cmpd="sng">
              <a:solidFill>
                <a:srgbClr val="00589F"/>
              </a:solidFill>
              <a:round/>
              <a:headEnd/>
              <a:tailEnd/>
            </a:ln>
            <a:effectLst/>
          </p:spPr>
          <p:txBody>
            <a:bodyPr wrap="none" lIns="54000" tIns="54000" rIns="54000" bIns="54000" anchor="ctr"/>
            <a:lstStyle/>
            <a:p>
              <a:pPr algn="ctr" defTabSz="762000" rtl="0">
                <a:spcBef>
                  <a:spcPct val="50000"/>
                </a:spcBef>
              </a:pPr>
              <a:r>
                <a:rPr lang="ru-RU" sz="1300" b="0" i="0" u="none" baseline="0">
                  <a:solidFill>
                    <a:srgbClr val="000000"/>
                  </a:solidFill>
                  <a:latin typeface="Arial"/>
                  <a:cs typeface="Arial"/>
                </a:rPr>
                <a:t>5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9841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 rtl="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ru" dirty="0" smtClean="0"/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94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>
            <a:spLocks/>
          </p:cNvSpPr>
          <p:nvPr/>
        </p:nvSpPr>
        <p:spPr>
          <a:xfrm>
            <a:off x="177818" y="914400"/>
            <a:ext cx="6680182" cy="5181600"/>
          </a:xfrm>
          <a:prstGeom prst="rect">
            <a:avLst/>
          </a:prstGeom>
          <a:noFill/>
          <a:ln w="6350">
            <a:solidFill>
              <a:srgbClr val="00589F"/>
            </a:solidFill>
            <a:headEnd/>
            <a:tailEnd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none" lIns="93276" tIns="46638" rIns="93276" bIns="46638" anchor="ctr">
            <a:noAutofit/>
          </a:bodyPr>
          <a:lstStyle/>
          <a:p>
            <a:pPr algn="l" rtl="0"/>
            <a:endParaRPr lang="ru" sz="1400" kern="1200" dirty="0" err="1">
              <a:solidFill>
                <a:srgbClr val="FFFFFF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5" name="AutoShape 25"/>
          <p:cNvSpPr>
            <a:spLocks noChangeArrowheads="1"/>
          </p:cNvSpPr>
          <p:nvPr/>
        </p:nvSpPr>
        <p:spPr bwMode="auto">
          <a:xfrm rot="5400000">
            <a:off x="373578" y="1871154"/>
            <a:ext cx="1869426" cy="1656000"/>
          </a:xfrm>
          <a:prstGeom prst="homePlate">
            <a:avLst>
              <a:gd name="adj" fmla="val 18201"/>
            </a:avLst>
          </a:prstGeom>
          <a:solidFill>
            <a:srgbClr val="00589F"/>
          </a:solidFill>
          <a:ln w="3175">
            <a:noFill/>
            <a:headEnd/>
            <a:tailEnd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vert270" wrap="square" anchor="ctr"/>
          <a:lstStyle/>
          <a:p>
            <a:pPr algn="ctr" rtl="0"/>
            <a:r>
              <a:rPr lang="ru-RU" sz="1200" b="1" i="0" u="none" baseline="0">
                <a:solidFill>
                  <a:srgbClr val="FFFFFF"/>
                </a:solidFill>
                <a:latin typeface="Arial"/>
                <a:cs typeface="Arial"/>
              </a:rPr>
              <a:t>Оценить пригодность медицинских учреждений для </a:t>
            </a:r>
            <a:r>
              <a:rPr lang="ru-RU" sz="1200" b="1">
                <a:solidFill>
                  <a:srgbClr val="FFFFFF"/>
                </a:solidFill>
                <a:latin typeface="Arial"/>
                <a:cs typeface="Arial"/>
              </a:rPr>
              <a:t/>
            </a:r>
            <a:br>
              <a:rPr lang="ru-RU" sz="1200" b="1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ru-RU" sz="1200" b="1" i="0" u="none" baseline="0">
                <a:solidFill>
                  <a:srgbClr val="FFFFFF"/>
                </a:solidFill>
                <a:latin typeface="Arial"/>
                <a:cs typeface="Arial"/>
              </a:rPr>
              <a:t>размещения ОХЦ</a:t>
            </a:r>
            <a:endParaRPr lang="ru" sz="12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274454" y="4088170"/>
            <a:ext cx="4354946" cy="1703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 rtl="0">
              <a:spcBef>
                <a:spcPts val="200"/>
              </a:spcBef>
              <a:spcAft>
                <a:spcPts val="200"/>
              </a:spcAft>
              <a:buClr>
                <a:srgbClr val="204024"/>
              </a:buClr>
              <a:buFont typeface="Courier New"/>
              <a:buChar char="o"/>
            </a:pPr>
            <a:r>
              <a:rPr lang="ru-RU" sz="1200" b="0" i="0" u="none" baseline="0" dirty="0">
                <a:solidFill>
                  <a:srgbClr val="000000"/>
                </a:solidFill>
                <a:latin typeface="Arial"/>
                <a:cs typeface="Arial"/>
              </a:rPr>
              <a:t>Проверить требуемые инфраструктурные </a:t>
            </a:r>
            <a:r>
              <a:rPr lang="ru-RU" sz="1200" b="0" i="0" u="none" baseline="0" dirty="0">
                <a:latin typeface="Arial"/>
                <a:cs typeface="Arial"/>
              </a:rPr>
              <a:t>улучшения в потенциальных учреждениях и </a:t>
            </a:r>
            <a:r>
              <a:rPr lang="ru-RU" sz="1200" b="1" i="0" u="none" baseline="0" dirty="0">
                <a:latin typeface="Arial"/>
                <a:cs typeface="Arial"/>
              </a:rPr>
              <a:t>установить приоритет</a:t>
            </a:r>
            <a:r>
              <a:rPr lang="ru-RU" sz="1200" b="0" i="0" u="none" baseline="0" dirty="0">
                <a:latin typeface="Arial"/>
                <a:cs typeface="Arial"/>
              </a:rPr>
              <a:t> для готовых к принятию ОХЦ учреждений на год </a:t>
            </a:r>
            <a:endParaRPr lang="ru" sz="1200" dirty="0">
              <a:latin typeface="Arial"/>
              <a:cs typeface="Arial"/>
            </a:endParaRPr>
          </a:p>
          <a:p>
            <a:pPr marL="285750" indent="-285750" algn="l" rtl="0">
              <a:spcBef>
                <a:spcPts val="200"/>
              </a:spcBef>
              <a:spcAft>
                <a:spcPts val="200"/>
              </a:spcAft>
              <a:buClr>
                <a:srgbClr val="204024"/>
              </a:buClr>
              <a:buFont typeface="Courier New"/>
              <a:buChar char="o"/>
            </a:pPr>
            <a:r>
              <a:rPr lang="ru-RU" sz="1200" b="0" i="0" u="none" baseline="0" dirty="0">
                <a:solidFill>
                  <a:srgbClr val="000000"/>
                </a:solidFill>
                <a:latin typeface="Arial"/>
                <a:cs typeface="Arial"/>
              </a:rPr>
              <a:t>Составить окончательный список получающих ОХЦ медицинских учреждений</a:t>
            </a:r>
          </a:p>
          <a:p>
            <a:pPr marL="285750" indent="-285750" algn="l" rtl="0">
              <a:spcBef>
                <a:spcPts val="200"/>
              </a:spcBef>
              <a:spcAft>
                <a:spcPts val="200"/>
              </a:spcAft>
              <a:buClr>
                <a:srgbClr val="204024"/>
              </a:buClr>
              <a:buFont typeface="Courier New"/>
              <a:buChar char="o"/>
            </a:pPr>
            <a:r>
              <a:rPr lang="ru-RU" sz="1200" b="0" i="0" u="none" baseline="0" dirty="0">
                <a:solidFill>
                  <a:srgbClr val="000000"/>
                </a:solidFill>
                <a:latin typeface="Arial"/>
                <a:cs typeface="Arial"/>
              </a:rPr>
              <a:t>Подать окончательный список ЮНИСЕФ вместе с информацией, запрашиваемой в </a:t>
            </a:r>
            <a:r>
              <a:rPr lang="ru-RU" sz="1200" b="0" i="0" u="none" baseline="0" dirty="0">
                <a:latin typeface="Arial"/>
                <a:cs typeface="Arial"/>
              </a:rPr>
              <a:t>Bi2 (слайд 7)</a:t>
            </a:r>
            <a:endParaRPr lang="ru" sz="1200" dirty="0">
              <a:latin typeface="Arial"/>
              <a:cs typeface="Arial"/>
            </a:endParaRPr>
          </a:p>
        </p:txBody>
      </p:sp>
      <p:sp>
        <p:nvSpPr>
          <p:cNvPr id="8" name="AutoShape 28"/>
          <p:cNvSpPr>
            <a:spLocks noChangeArrowheads="1"/>
          </p:cNvSpPr>
          <p:nvPr/>
        </p:nvSpPr>
        <p:spPr bwMode="auto">
          <a:xfrm rot="5400000">
            <a:off x="279589" y="3934500"/>
            <a:ext cx="2057400" cy="1656000"/>
          </a:xfrm>
          <a:prstGeom prst="chevron">
            <a:avLst>
              <a:gd name="adj" fmla="val 14798"/>
            </a:avLst>
          </a:prstGeom>
          <a:solidFill>
            <a:srgbClr val="00589F"/>
          </a:solidFill>
          <a:ln w="3175">
            <a:noFill/>
            <a:headEnd/>
            <a:tailEnd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vert270" wrap="square" anchor="ctr"/>
          <a:lstStyle/>
          <a:p>
            <a:pPr algn="ctr" rtl="0"/>
            <a:r>
              <a:rPr lang="ru-RU" sz="1200" b="1" i="0" u="none" baseline="0">
                <a:solidFill>
                  <a:srgbClr val="FFFFFF"/>
                </a:solidFill>
                <a:latin typeface="Arial"/>
                <a:cs typeface="Arial"/>
              </a:rPr>
              <a:t>Составить окончательный список учреждений для распределения закупленного ОХЦ</a:t>
            </a:r>
            <a:endParaRPr lang="ru" sz="12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7315200" y="5332512"/>
            <a:ext cx="172106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 rtl="0">
              <a:spcBef>
                <a:spcPts val="600"/>
              </a:spcBef>
              <a:spcAft>
                <a:spcPts val="600"/>
              </a:spcAft>
            </a:pPr>
            <a:r>
              <a:rPr lang="ru-RU" sz="1000" b="1" i="0" u="none" baseline="0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rPr>
              <a:t>1 Для конкретной страны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362200" y="1728867"/>
            <a:ext cx="4267200" cy="2236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algn="l" rtl="0">
              <a:spcBef>
                <a:spcPts val="200"/>
              </a:spcBef>
              <a:spcAft>
                <a:spcPts val="200"/>
              </a:spcAft>
              <a:buClr>
                <a:srgbClr val="204024"/>
              </a:buClr>
              <a:buFont typeface="Courier New"/>
              <a:buChar char="o"/>
            </a:pPr>
            <a:r>
              <a:rPr lang="ru-RU" sz="1200" b="0" i="0" u="none" baseline="0" dirty="0">
                <a:solidFill>
                  <a:srgbClr val="000000"/>
                </a:solidFill>
                <a:latin typeface="Arial"/>
                <a:cs typeface="Arial"/>
              </a:rPr>
              <a:t>Выполнить оценку учреждения в целях</a:t>
            </a:r>
            <a:r>
              <a:rPr lang="ru-RU" sz="1200" b="0" i="0" u="none" baseline="0" dirty="0" smtClean="0">
                <a:solidFill>
                  <a:srgbClr val="000000"/>
                </a:solidFill>
                <a:latin typeface="Arial"/>
                <a:cs typeface="Arial"/>
              </a:rPr>
              <a:t>:</a:t>
            </a:r>
            <a:endParaRPr lang="en-US" sz="1200" b="0" i="0" u="none" baseline="0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marL="569913" lvl="2" indent="-277813">
              <a:spcBef>
                <a:spcPts val="200"/>
              </a:spcBef>
              <a:spcAft>
                <a:spcPts val="200"/>
              </a:spcAft>
              <a:buClr>
                <a:srgbClr val="204024"/>
              </a:buClr>
              <a:buFont typeface="Arial"/>
              <a:buChar char="•"/>
            </a:pPr>
            <a:r>
              <a:rPr lang="ru-RU" sz="1200" dirty="0">
                <a:solidFill>
                  <a:srgbClr val="000000"/>
                </a:solidFill>
                <a:cs typeface="Arial"/>
              </a:rPr>
              <a:t>Определения учреждений, готовых в размещению ОХЦ</a:t>
            </a:r>
          </a:p>
          <a:p>
            <a:pPr marL="569913" lvl="2" indent="-277813">
              <a:spcBef>
                <a:spcPts val="200"/>
              </a:spcBef>
              <a:spcAft>
                <a:spcPts val="200"/>
              </a:spcAft>
              <a:buFont typeface="Arial"/>
              <a:buChar char="•"/>
            </a:pPr>
            <a:r>
              <a:rPr lang="ru-RU" sz="1200" dirty="0">
                <a:solidFill>
                  <a:srgbClr val="000000"/>
                </a:solidFill>
                <a:cs typeface="Arial"/>
              </a:rPr>
              <a:t>Определения потребностей в инфраструктурных улучшениях для учреждений, неготовых к размещению ОХЦ</a:t>
            </a:r>
          </a:p>
          <a:p>
            <a:pPr marL="285750" indent="-285750" algn="l" rtl="0">
              <a:spcBef>
                <a:spcPts val="200"/>
              </a:spcBef>
              <a:spcAft>
                <a:spcPts val="200"/>
              </a:spcAft>
              <a:buClr>
                <a:srgbClr val="204024"/>
              </a:buClr>
              <a:buFont typeface="Courier New"/>
              <a:buChar char="o"/>
            </a:pPr>
            <a:r>
              <a:rPr lang="ru-RU" sz="1200" b="0" i="0" u="none" baseline="0" dirty="0" smtClean="0">
                <a:latin typeface="Arial"/>
                <a:cs typeface="Arial"/>
              </a:rPr>
              <a:t>Провести </a:t>
            </a:r>
            <a:r>
              <a:rPr lang="ru-RU" sz="1200" b="0" i="0" u="none" baseline="0" dirty="0">
                <a:latin typeface="Arial"/>
                <a:cs typeface="Arial"/>
              </a:rPr>
              <a:t>необходимые ремонтные работы в учреждениях, где требуются улучшения, к моменту получения ОХЦ</a:t>
            </a:r>
          </a:p>
          <a:p>
            <a:pPr marL="285750" indent="-285750" algn="l" rtl="0">
              <a:spcBef>
                <a:spcPts val="200"/>
              </a:spcBef>
              <a:spcAft>
                <a:spcPts val="200"/>
              </a:spcAft>
              <a:buClr>
                <a:srgbClr val="204024"/>
              </a:buClr>
              <a:buFont typeface="Courier New"/>
              <a:buChar char="o"/>
            </a:pPr>
            <a:r>
              <a:rPr lang="ru-RU" sz="1200" b="0" i="0" u="none" baseline="0" dirty="0">
                <a:latin typeface="Arial"/>
                <a:cs typeface="Arial"/>
              </a:rPr>
              <a:t>Пересмотреть приоритеты в списке установки по объектам, требующим ремонтных работ</a:t>
            </a:r>
            <a:endParaRPr lang="ru" sz="1200" dirty="0">
              <a:latin typeface="Arial"/>
              <a:cs typeface="Arial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5523" y="65852"/>
            <a:ext cx="4791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914400" rtl="0">
              <a:defRPr/>
            </a:pPr>
            <a:r>
              <a:rPr lang="ru-RU" b="1" i="0" u="none" baseline="0">
                <a:solidFill>
                  <a:schemeClr val="bg1"/>
                </a:solidFill>
                <a:latin typeface="Arial Narrow"/>
                <a:ea typeface="ＭＳ Ｐゴシック"/>
                <a:cs typeface="Arial Narrow"/>
              </a:rPr>
              <a:t>Bi3</a:t>
            </a:r>
            <a:endParaRPr lang="ru" b="1" dirty="0">
              <a:solidFill>
                <a:schemeClr val="bg1"/>
              </a:solidFill>
              <a:latin typeface="Arial Narrow"/>
              <a:ea typeface="ＭＳ Ｐゴシック"/>
              <a:cs typeface="Arial Narrow"/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 bwMode="gray">
          <a:xfrm>
            <a:off x="656588" y="106680"/>
            <a:ext cx="831281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defTabSz="911135" rtl="0" fontAlgn="base">
              <a:spcBef>
                <a:spcPct val="0"/>
              </a:spcBef>
              <a:spcAft>
                <a:spcPct val="0"/>
              </a:spcAft>
              <a:tabLst>
                <a:tab pos="368907" algn="l"/>
              </a:tabLst>
              <a:defRPr/>
            </a:pPr>
            <a:r>
              <a:rPr lang="ru-RU" sz="1400" b="1" i="0" u="none" baseline="0" dirty="0">
                <a:solidFill>
                  <a:schemeClr val="bg1"/>
                </a:solidFill>
                <a:latin typeface="Arial Narrow"/>
                <a:cs typeface="Arial Narrow"/>
              </a:rPr>
              <a:t>Для подтверждения готовности учреждения требуется ряд этапов</a:t>
            </a:r>
            <a:endParaRPr lang="ru" sz="1400" b="1" kern="1200" dirty="0">
              <a:solidFill>
                <a:srgbClr val="FFFFFF"/>
              </a:solidFill>
              <a:latin typeface="Arial Narrow"/>
              <a:cs typeface="Arial Narrow"/>
            </a:endParaRPr>
          </a:p>
        </p:txBody>
      </p:sp>
      <p:sp>
        <p:nvSpPr>
          <p:cNvPr id="24" name="Rectangle 3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539410" y="1079863"/>
            <a:ext cx="3203506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lvl="0" algn="l" defTabSz="895350" eaLnBrk="1" hangingPunct="1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l" rtl="0" fontAlgn="base">
              <a:spcBef>
                <a:spcPct val="0"/>
              </a:spcBef>
              <a:spcAft>
                <a:spcPct val="0"/>
              </a:spcAft>
              <a:buClr>
                <a:srgbClr val="339966"/>
              </a:buClr>
            </a:pPr>
            <a:r>
              <a:rPr lang="ru-RU" sz="1800" b="1" i="0" u="none" baseline="0">
                <a:solidFill>
                  <a:srgbClr val="575757"/>
                </a:solidFill>
                <a:latin typeface="Arial"/>
                <a:ea typeface="ＭＳ Ｐゴシック"/>
                <a:cs typeface="Arial"/>
              </a:rPr>
              <a:t>Этапы</a:t>
            </a:r>
            <a:endParaRPr lang="ru" sz="1800" b="1" dirty="0">
              <a:solidFill>
                <a:srgbClr val="575757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25" name="Rectangle 3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2362200" y="1079863"/>
            <a:ext cx="1116000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lvl="0" algn="l" defTabSz="895350" eaLnBrk="1" hangingPunct="1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algn="l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algn="l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algn="l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algn="l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l" rtl="0" fontAlgn="base">
              <a:spcBef>
                <a:spcPct val="0"/>
              </a:spcBef>
              <a:spcAft>
                <a:spcPct val="0"/>
              </a:spcAft>
              <a:buClr>
                <a:srgbClr val="339966"/>
              </a:buClr>
            </a:pPr>
            <a:r>
              <a:rPr lang="ru-RU" sz="1800" b="1" i="0" u="none" baseline="0">
                <a:solidFill>
                  <a:srgbClr val="575757"/>
                </a:solidFill>
                <a:ea typeface="ＭＳ Ｐゴシック"/>
                <a:cs typeface="Arial"/>
              </a:rPr>
              <a:t>Мероприятия</a:t>
            </a:r>
          </a:p>
        </p:txBody>
      </p:sp>
      <p:sp>
        <p:nvSpPr>
          <p:cNvPr id="33" name="Rectangle 3"/>
          <p:cNvSpPr txBox="1"/>
          <p:nvPr/>
        </p:nvSpPr>
        <p:spPr bwMode="gray">
          <a:xfrm>
            <a:off x="7086600" y="925945"/>
            <a:ext cx="1882800" cy="4330367"/>
          </a:xfrm>
          <a:prstGeom prst="rect">
            <a:avLst/>
          </a:prstGeom>
          <a:solidFill>
            <a:srgbClr val="00589F">
              <a:alpha val="23000"/>
            </a:srgbClr>
          </a:solidFill>
          <a:ln w="12700" algn="ctr">
            <a:noFill/>
            <a:round/>
            <a:headEnd/>
            <a:tailEnd/>
          </a:ln>
          <a:effectLst/>
        </p:spPr>
        <p:txBody>
          <a:bodyPr anchor="ctr"/>
          <a:lstStyle>
            <a:defPPr>
              <a:defRPr lang="ru"/>
            </a:defPPr>
            <a:lvl1pPr fontAlgn="base">
              <a:spcBef>
                <a:spcPts val="200"/>
              </a:spcBef>
              <a:spcAft>
                <a:spcPts val="200"/>
              </a:spcAft>
              <a:defRPr sz="1400" b="0" u="none">
                <a:solidFill>
                  <a:srgbClr val="FFFFFF"/>
                </a:solidFill>
                <a:ea typeface="MS PGothic" pitchFamily="34" charset="-128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indent="-173038" algn="l" rtl="0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defRPr/>
            </a:pPr>
            <a:r>
              <a:rPr lang="ru-RU" sz="1800" b="1" i="0" u="none" baseline="0" dirty="0">
                <a:solidFill>
                  <a:schemeClr val="tx1"/>
                </a:solidFill>
                <a:cs typeface="Arial"/>
              </a:rPr>
              <a:t>Проверочный лист оценки учреждения</a:t>
            </a:r>
            <a:endParaRPr lang="ru" sz="1800" b="1" dirty="0">
              <a:solidFill>
                <a:schemeClr val="tx1"/>
              </a:solidFill>
              <a:cs typeface="Arial"/>
            </a:endParaRPr>
          </a:p>
          <a:p>
            <a:pPr indent="-173038" algn="l" rtl="0">
              <a:spcBef>
                <a:spcPct val="0"/>
              </a:spcBef>
              <a:spcAft>
                <a:spcPct val="0"/>
              </a:spcAft>
              <a:buFont typeface="Courier New"/>
              <a:buChar char="o"/>
              <a:defRPr/>
            </a:pPr>
            <a:r>
              <a:rPr lang="ru-RU" sz="1200" b="0" i="0" u="none" baseline="0" dirty="0">
                <a:solidFill>
                  <a:schemeClr val="tx1"/>
                </a:solidFill>
                <a:cs typeface="Arial"/>
              </a:rPr>
              <a:t>Включает основную информацию о:</a:t>
            </a:r>
          </a:p>
          <a:p>
            <a:pPr marL="173038" indent="-173038" algn="l" rtl="0">
              <a:buFont typeface="Courier New"/>
              <a:buChar char="o"/>
              <a:defRPr/>
            </a:pPr>
            <a:r>
              <a:rPr lang="ru-RU" sz="1200" b="0" i="0" u="none" baseline="0" dirty="0">
                <a:solidFill>
                  <a:schemeClr val="tx1"/>
                </a:solidFill>
                <a:cs typeface="Arial"/>
              </a:rPr>
              <a:t>Состоянии крыши</a:t>
            </a:r>
          </a:p>
          <a:p>
            <a:pPr marL="173038" indent="-173038" algn="l" rtl="0">
              <a:buFont typeface="Courier New"/>
              <a:buChar char="o"/>
              <a:defRPr/>
            </a:pPr>
            <a:r>
              <a:rPr lang="ru-RU" sz="1200" b="0" i="0" u="none" baseline="0" dirty="0">
                <a:solidFill>
                  <a:schemeClr val="tx1"/>
                </a:solidFill>
                <a:cs typeface="Arial"/>
              </a:rPr>
              <a:t>Уровне охраны (защиты от краж и службы безопасности) — при необходимости</a:t>
            </a:r>
            <a:r>
              <a:rPr lang="ru-RU" sz="1200" b="0" i="0" u="none" baseline="30000" dirty="0">
                <a:solidFill>
                  <a:schemeClr val="tx1"/>
                </a:solidFill>
                <a:cs typeface="Arial"/>
              </a:rPr>
              <a:t>1</a:t>
            </a:r>
            <a:endParaRPr lang="ru" sz="1200" dirty="0">
              <a:solidFill>
                <a:schemeClr val="tx1"/>
              </a:solidFill>
              <a:cs typeface="Arial"/>
            </a:endParaRPr>
          </a:p>
          <a:p>
            <a:pPr marL="173038" indent="-173038" algn="l" rtl="0">
              <a:buFont typeface="Courier New"/>
              <a:buChar char="o"/>
              <a:defRPr/>
            </a:pPr>
            <a:r>
              <a:rPr lang="ru-RU" sz="1200" b="0" i="0" u="none" baseline="0" dirty="0">
                <a:solidFill>
                  <a:schemeClr val="tx1"/>
                </a:solidFill>
                <a:cs typeface="Arial"/>
              </a:rPr>
              <a:t>Координатах GPS </a:t>
            </a:r>
            <a:r>
              <a:rPr lang="ru-RU" sz="1200" dirty="0">
                <a:solidFill>
                  <a:schemeClr val="tx1"/>
                </a:solidFill>
                <a:cs typeface="Arial"/>
              </a:rPr>
              <a:t/>
            </a:r>
            <a:br>
              <a:rPr lang="ru-RU" sz="1200" dirty="0">
                <a:solidFill>
                  <a:schemeClr val="tx1"/>
                </a:solidFill>
                <a:cs typeface="Arial"/>
              </a:rPr>
            </a:br>
            <a:r>
              <a:rPr lang="ru-RU" sz="1200" b="0" i="0" u="none" baseline="0" dirty="0">
                <a:solidFill>
                  <a:schemeClr val="tx1"/>
                </a:solidFill>
                <a:cs typeface="Arial"/>
              </a:rPr>
              <a:t>учреждения (необязательно)</a:t>
            </a:r>
          </a:p>
          <a:p>
            <a:pPr marL="173038" indent="-173038" algn="l" rtl="0">
              <a:buFont typeface="Courier New"/>
              <a:buChar char="o"/>
              <a:defRPr/>
            </a:pPr>
            <a:r>
              <a:rPr lang="ru-RU" sz="1200" b="0" i="0" u="none" baseline="0" dirty="0">
                <a:solidFill>
                  <a:schemeClr val="tx1"/>
                </a:solidFill>
                <a:cs typeface="Arial"/>
              </a:rPr>
              <a:t>Ф.И.О и номере телефона контактного лица в учреждении с правом подписи при получении ОХЦ</a:t>
            </a:r>
          </a:p>
        </p:txBody>
      </p:sp>
      <p:pic>
        <p:nvPicPr>
          <p:cNvPr id="16" name="Picture 15"/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457200" y="1447800"/>
            <a:ext cx="6126480" cy="50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263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1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1" name="dtable170554751157760 10 40 127 202 94"/>
          <p:cNvSpPr txBox="1">
            <a:spLocks noChangeArrowheads="1"/>
          </p:cNvSpPr>
          <p:nvPr/>
        </p:nvSpPr>
        <p:spPr bwMode="gray">
          <a:xfrm>
            <a:off x="2792008" y="1219200"/>
            <a:ext cx="6123392" cy="1184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algn="l" rtl="0">
              <a:spcBef>
                <a:spcPts val="100"/>
              </a:spcBef>
              <a:spcAft>
                <a:spcPts val="200"/>
              </a:spcAft>
              <a:buClrTx/>
              <a:buSzPct val="100000"/>
              <a:buFont typeface="Courier New"/>
              <a:buChar char="o"/>
            </a:pPr>
            <a:r>
              <a:rPr lang="ru-RU" sz="1200" b="0" i="0" u="none" baseline="0" dirty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Должностное лицо (лица) из Министерства здравоохранения, </a:t>
            </a:r>
            <a:r>
              <a:rPr lang="ru-RU" sz="1200" b="0" i="0" u="none" baseline="0" dirty="0" smtClean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уполномоченное</a:t>
            </a:r>
            <a:r>
              <a:rPr lang="en-US" sz="1200" b="0" i="0" u="none" baseline="0" dirty="0" smtClean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/>
            </a:r>
            <a:br>
              <a:rPr lang="en-US" sz="1200" b="0" i="0" u="none" baseline="0" dirty="0" smtClean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</a:br>
            <a:r>
              <a:rPr lang="ru-RU" sz="1200" b="0" i="0" u="none" baseline="0" dirty="0" smtClean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(-</a:t>
            </a:r>
            <a:r>
              <a:rPr lang="ru-RU" sz="1200" b="0" i="0" u="none" baseline="0" dirty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ые) на принятие решений об изменениях в списке мест установки </a:t>
            </a:r>
          </a:p>
          <a:p>
            <a:pPr lvl="1" algn="l" rtl="0">
              <a:spcBef>
                <a:spcPts val="100"/>
              </a:spcBef>
              <a:spcAft>
                <a:spcPts val="200"/>
              </a:spcAft>
              <a:buClrTx/>
              <a:buSzPct val="100000"/>
              <a:buFont typeface="Courier New"/>
              <a:buChar char="o"/>
            </a:pPr>
            <a:r>
              <a:rPr lang="ru-RU" sz="1200" b="0" i="0" u="none" baseline="0" dirty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Уполномоченное (-ые) на принятие решений в случае отклонений лицо (лица) должно (-ы) быть доступно (-ы) в любое время в процессе реализации</a:t>
            </a:r>
            <a:endParaRPr lang="ru" sz="1200" dirty="0">
              <a:solidFill>
                <a:srgbClr val="E0EDFD">
                  <a:lumMod val="10000"/>
                </a:srgbClr>
              </a:solidFill>
              <a:latin typeface="Arial"/>
              <a:ea typeface="ＭＳ Ｐゴシック"/>
              <a:cs typeface="Arial"/>
            </a:endParaRPr>
          </a:p>
          <a:p>
            <a:pPr lvl="1" algn="l" rtl="0">
              <a:spcBef>
                <a:spcPts val="100"/>
              </a:spcBef>
              <a:spcAft>
                <a:spcPts val="200"/>
              </a:spcAft>
              <a:buClrTx/>
              <a:buSzPct val="100000"/>
              <a:buFont typeface="Courier New"/>
              <a:buChar char="o"/>
            </a:pPr>
            <a:r>
              <a:rPr lang="ru-RU" sz="1200" b="0" i="0" u="none" baseline="0" dirty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Уполномоченное (-ые) на принятие решений в случае отклонений лицо (лица) должно (-ы) принимать решения по мере возникновения отклонений</a:t>
            </a:r>
          </a:p>
        </p:txBody>
      </p:sp>
      <p:sp>
        <p:nvSpPr>
          <p:cNvPr id="392" name="dtable170554751157760 10 40 100 202 17"/>
          <p:cNvSpPr txBox="1">
            <a:spLocks noChangeArrowheads="1"/>
          </p:cNvSpPr>
          <p:nvPr/>
        </p:nvSpPr>
        <p:spPr bwMode="gray">
          <a:xfrm>
            <a:off x="2639522" y="667325"/>
            <a:ext cx="6096086" cy="217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rtl="0">
              <a:spcBef>
                <a:spcPts val="400"/>
              </a:spcBef>
              <a:spcAft>
                <a:spcPts val="300"/>
              </a:spcAft>
              <a:buClr>
                <a:srgbClr val="339966"/>
              </a:buClr>
            </a:pPr>
            <a:r>
              <a:rPr lang="ru-RU" sz="1300" b="1" i="0" u="none" baseline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Замечания по разработке протокола отклонений</a:t>
            </a:r>
            <a:endParaRPr lang="ru" sz="1300" i="1" dirty="0" smtClean="0">
              <a:solidFill>
                <a:srgbClr val="E0EDFD">
                  <a:lumMod val="10000"/>
                </a:srgbClr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415" name="dtable170554751157760 10 40 127 202 94"/>
          <p:cNvSpPr txBox="1">
            <a:spLocks noChangeArrowheads="1"/>
          </p:cNvSpPr>
          <p:nvPr/>
        </p:nvSpPr>
        <p:spPr bwMode="gray">
          <a:xfrm>
            <a:off x="2792008" y="4876800"/>
            <a:ext cx="6199592" cy="13696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algn="l" rtl="0">
              <a:spcBef>
                <a:spcPts val="100"/>
              </a:spcBef>
              <a:spcAft>
                <a:spcPts val="200"/>
              </a:spcAft>
              <a:buClrTx/>
              <a:buSzPct val="100000"/>
              <a:buFont typeface="Courier New"/>
              <a:buChar char="o"/>
            </a:pPr>
            <a:r>
              <a:rPr lang="ru-RU" sz="1200" b="0" i="0" u="none" baseline="0" dirty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Расходы, связанные с отклонениями в результате ненадлежащего плана развертки, входят в сферу ответственности Министерства здравоохранения и выплачиваются Министерством здравоохранения из буферного запаса</a:t>
            </a:r>
            <a:endParaRPr lang="ru" sz="1200" dirty="0">
              <a:solidFill>
                <a:srgbClr val="E0EDFD">
                  <a:lumMod val="10000"/>
                </a:srgbClr>
              </a:solidFill>
              <a:latin typeface="Arial"/>
              <a:ea typeface="ＭＳ Ｐゴシック"/>
              <a:cs typeface="Arial"/>
            </a:endParaRPr>
          </a:p>
          <a:p>
            <a:pPr lvl="1" algn="l" rtl="0">
              <a:spcBef>
                <a:spcPts val="100"/>
              </a:spcBef>
              <a:spcAft>
                <a:spcPts val="200"/>
              </a:spcAft>
              <a:buClrTx/>
              <a:buSzPct val="100000"/>
              <a:buFont typeface="Courier New"/>
              <a:buChar char="o"/>
            </a:pPr>
            <a:r>
              <a:rPr lang="ru-RU" sz="1200" b="0" i="0" u="none" baseline="0" dirty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Важно обеспечить готовность места установки в целях минимизации отклонений и расходов. Также критично наличие списка запасных мест установки</a:t>
            </a:r>
          </a:p>
          <a:p>
            <a:pPr lvl="1" algn="l" rtl="0">
              <a:spcBef>
                <a:spcPts val="100"/>
              </a:spcBef>
              <a:spcAft>
                <a:spcPts val="200"/>
              </a:spcAft>
              <a:buClrTx/>
              <a:buSzPct val="100000"/>
              <a:buFont typeface="Courier New"/>
              <a:buChar char="o"/>
            </a:pPr>
            <a:r>
              <a:rPr lang="ru-RU" sz="1200" b="0" i="0" u="none" baseline="0" dirty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ЮНИСЕФ использует средства Правительства для оплаты поставщику в случае отклонений</a:t>
            </a:r>
          </a:p>
        </p:txBody>
      </p:sp>
      <p:sp>
        <p:nvSpPr>
          <p:cNvPr id="40" name="dtable170554751157760 10 40 127 202 94"/>
          <p:cNvSpPr txBox="1">
            <a:spLocks noChangeArrowheads="1"/>
          </p:cNvSpPr>
          <p:nvPr/>
        </p:nvSpPr>
        <p:spPr bwMode="gray">
          <a:xfrm>
            <a:off x="2792008" y="2438400"/>
            <a:ext cx="5836571" cy="777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algn="l" rtl="0">
              <a:spcBef>
                <a:spcPts val="100"/>
              </a:spcBef>
              <a:spcAft>
                <a:spcPts val="200"/>
              </a:spcAft>
              <a:buClrTx/>
              <a:buSzPct val="100000"/>
              <a:buFont typeface="Courier New"/>
              <a:buChar char="o"/>
            </a:pPr>
            <a:r>
              <a:rPr lang="ru-RU" sz="1200" b="0" i="0" u="none" baseline="0" dirty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Уполномоченное (-ые) на принятие решений в случае отклонений лицо (лица) должно (-ы) быть доступно (-ы) в рабочее время, а его (их) контактные данные должны быть указаны в протоколе отклонений</a:t>
            </a:r>
          </a:p>
          <a:p>
            <a:pPr lvl="1" algn="l" rtl="0">
              <a:spcBef>
                <a:spcPts val="100"/>
              </a:spcBef>
              <a:spcAft>
                <a:spcPts val="200"/>
              </a:spcAft>
              <a:buClrTx/>
              <a:buSzPct val="100000"/>
              <a:buFont typeface="Courier New"/>
              <a:buChar char="o"/>
            </a:pPr>
            <a:r>
              <a:rPr lang="ru-RU" sz="1200" b="0" i="0" u="none" baseline="0" dirty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ЮНИСЕФ регистрирует все отклонения и должен получать информацию обо всех решениях, связанных с изменением списка мест установка, в течение 24 часов с момента внесения изменения</a:t>
            </a:r>
          </a:p>
        </p:txBody>
      </p:sp>
      <p:sp>
        <p:nvSpPr>
          <p:cNvPr id="36" name="dtable170554751157760 10 40 127 202 94"/>
          <p:cNvSpPr txBox="1">
            <a:spLocks noChangeArrowheads="1"/>
          </p:cNvSpPr>
          <p:nvPr/>
        </p:nvSpPr>
        <p:spPr bwMode="gray">
          <a:xfrm>
            <a:off x="2792008" y="3657600"/>
            <a:ext cx="6047192" cy="815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 algn="l" rtl="0">
              <a:spcBef>
                <a:spcPts val="100"/>
              </a:spcBef>
              <a:spcAft>
                <a:spcPts val="200"/>
              </a:spcAft>
              <a:buClrTx/>
              <a:buSzPct val="100000"/>
              <a:buFont typeface="Courier New"/>
              <a:buChar char="o"/>
            </a:pPr>
            <a:r>
              <a:rPr lang="ru-RU" sz="1200" b="0" i="0" u="none" baseline="0" dirty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Необходимо подготовить список потенциальных проблем/рисков, которые могут повлиять на доставку и установку оборудования</a:t>
            </a:r>
          </a:p>
          <a:p>
            <a:pPr lvl="1" algn="l" rtl="0">
              <a:spcBef>
                <a:spcPts val="100"/>
              </a:spcBef>
              <a:spcAft>
                <a:spcPts val="200"/>
              </a:spcAft>
              <a:buClrTx/>
              <a:buSzPct val="100000"/>
              <a:buFont typeface="Courier New"/>
              <a:buChar char="o"/>
            </a:pPr>
            <a:r>
              <a:rPr lang="ru-RU" sz="1200" b="0" i="0" u="none" baseline="0" dirty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Следует подготовить мероприятия по урегулированию на основе выявленных проблем/рисков в целях минимизации отклонений </a:t>
            </a:r>
          </a:p>
          <a:p>
            <a:pPr lvl="1" algn="l" rtl="0">
              <a:spcBef>
                <a:spcPts val="100"/>
              </a:spcBef>
              <a:spcAft>
                <a:spcPts val="200"/>
              </a:spcAft>
              <a:buClrTx/>
              <a:buSzPct val="100000"/>
              <a:buFont typeface="Courier New"/>
              <a:buChar char="o"/>
            </a:pPr>
            <a:r>
              <a:rPr lang="ru-RU" sz="1200" b="0" i="0" u="none" baseline="0" dirty="0">
                <a:solidFill>
                  <a:srgbClr val="E0EDFD">
                    <a:lumMod val="10000"/>
                  </a:srgbClr>
                </a:solidFill>
                <a:latin typeface="Arial"/>
                <a:ea typeface="ＭＳ Ｐゴシック"/>
                <a:cs typeface="Arial"/>
              </a:rPr>
              <a:t>Если риск отклонений слишком высок, необходимо пересмотреть приоритеты в списке мест установки</a:t>
            </a: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87439" y="985764"/>
            <a:ext cx="6097969" cy="81036"/>
          </a:xfrm>
          <a:prstGeom prst="rect">
            <a:avLst/>
          </a:prstGeom>
        </p:spPr>
      </p:pic>
      <p:cxnSp>
        <p:nvCxnSpPr>
          <p:cNvPr id="3" name="Straight Connector 2"/>
          <p:cNvCxnSpPr/>
          <p:nvPr/>
        </p:nvCxnSpPr>
        <p:spPr>
          <a:xfrm flipH="1">
            <a:off x="2587439" y="3657600"/>
            <a:ext cx="6148169" cy="0"/>
          </a:xfrm>
          <a:prstGeom prst="line">
            <a:avLst/>
          </a:prstGeom>
          <a:ln w="6350" cmpd="sng">
            <a:solidFill>
              <a:srgbClr val="99C83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flipH="1">
            <a:off x="2587439" y="2397760"/>
            <a:ext cx="6148169" cy="0"/>
          </a:xfrm>
          <a:prstGeom prst="line">
            <a:avLst/>
          </a:prstGeom>
          <a:ln w="6350" cmpd="sng">
            <a:solidFill>
              <a:srgbClr val="99C83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flipH="1">
            <a:off x="2587439" y="4876800"/>
            <a:ext cx="6148169" cy="0"/>
          </a:xfrm>
          <a:prstGeom prst="line">
            <a:avLst/>
          </a:prstGeom>
          <a:ln w="6350" cmpd="sng">
            <a:solidFill>
              <a:srgbClr val="99C837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6"/>
          <p:cNvSpPr txBox="1">
            <a:spLocks/>
          </p:cNvSpPr>
          <p:nvPr/>
        </p:nvSpPr>
        <p:spPr>
          <a:xfrm>
            <a:off x="458580" y="993762"/>
            <a:ext cx="1903620" cy="984639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 rtl="0">
              <a:buClr>
                <a:srgbClr val="339966"/>
              </a:buClr>
            </a:pPr>
            <a:r>
              <a:rPr lang="ru-RU" sz="1400" b="1" i="0" u="none" baseline="0">
                <a:latin typeface="Arial"/>
                <a:ea typeface="ＭＳ Ｐゴシック"/>
                <a:cs typeface="Arial"/>
              </a:rPr>
              <a:t>Уполномоченные лица</a:t>
            </a:r>
            <a:endParaRPr lang="ru" sz="1100" b="1" dirty="0">
              <a:latin typeface="Arial"/>
              <a:ea typeface="ＭＳ Ｐゴシック"/>
              <a:cs typeface="Arial"/>
            </a:endParaRPr>
          </a:p>
          <a:p>
            <a:pPr marL="95250" algn="ctr" rtl="0">
              <a:buClr>
                <a:srgbClr val="339966"/>
              </a:buClr>
            </a:pPr>
            <a:endParaRPr lang="ru" sz="1400" b="1" dirty="0" smtClean="0">
              <a:latin typeface="Arial"/>
              <a:ea typeface="ＭＳ Ｐゴシック"/>
              <a:cs typeface="Arial"/>
            </a:endParaRPr>
          </a:p>
        </p:txBody>
      </p:sp>
      <p:sp>
        <p:nvSpPr>
          <p:cNvPr id="22" name="Rectangle 6"/>
          <p:cNvSpPr txBox="1">
            <a:spLocks/>
          </p:cNvSpPr>
          <p:nvPr/>
        </p:nvSpPr>
        <p:spPr>
          <a:xfrm>
            <a:off x="270165" y="808180"/>
            <a:ext cx="365760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ru-RU" sz="1100" b="1" i="0" u="none" kern="1200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1</a:t>
            </a:r>
          </a:p>
        </p:txBody>
      </p:sp>
      <p:sp>
        <p:nvSpPr>
          <p:cNvPr id="23" name="Rectangle 6"/>
          <p:cNvSpPr txBox="1">
            <a:spLocks/>
          </p:cNvSpPr>
          <p:nvPr/>
        </p:nvSpPr>
        <p:spPr>
          <a:xfrm>
            <a:off x="458580" y="2393074"/>
            <a:ext cx="1903620" cy="984639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 rtl="0">
              <a:buClr>
                <a:srgbClr val="339966"/>
              </a:buClr>
            </a:pPr>
            <a:r>
              <a:rPr lang="ru-RU" sz="1400" b="1" i="0" u="none" baseline="0">
                <a:latin typeface="Arial"/>
                <a:ea typeface="ＭＳ Ｐゴシック"/>
                <a:cs typeface="Arial"/>
              </a:rPr>
              <a:t>Контактные данные</a:t>
            </a:r>
            <a:endParaRPr lang="ru" sz="1100" b="1" dirty="0">
              <a:latin typeface="Arial"/>
              <a:ea typeface="ＭＳ Ｐゴシック"/>
              <a:cs typeface="Arial"/>
            </a:endParaRPr>
          </a:p>
          <a:p>
            <a:pPr marL="95250" algn="ctr" rtl="0">
              <a:buClr>
                <a:srgbClr val="339966"/>
              </a:buClr>
            </a:pPr>
            <a:endParaRPr lang="ru" sz="1400" b="1" dirty="0" smtClean="0">
              <a:latin typeface="Arial"/>
              <a:ea typeface="ＭＳ Ｐゴシック"/>
              <a:cs typeface="Arial"/>
            </a:endParaRPr>
          </a:p>
        </p:txBody>
      </p:sp>
      <p:sp>
        <p:nvSpPr>
          <p:cNvPr id="24" name="Rectangle 6"/>
          <p:cNvSpPr txBox="1">
            <a:spLocks/>
          </p:cNvSpPr>
          <p:nvPr/>
        </p:nvSpPr>
        <p:spPr>
          <a:xfrm>
            <a:off x="270165" y="2207492"/>
            <a:ext cx="365760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ru-RU" sz="1100" b="1" i="0" u="none" kern="1200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2</a:t>
            </a:r>
          </a:p>
        </p:txBody>
      </p:sp>
      <p:sp>
        <p:nvSpPr>
          <p:cNvPr id="26" name="Rectangle 6"/>
          <p:cNvSpPr txBox="1">
            <a:spLocks/>
          </p:cNvSpPr>
          <p:nvPr/>
        </p:nvSpPr>
        <p:spPr>
          <a:xfrm>
            <a:off x="458580" y="3598414"/>
            <a:ext cx="1903620" cy="984639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 rtl="0">
              <a:buClr>
                <a:srgbClr val="339966"/>
              </a:buClr>
            </a:pPr>
            <a:r>
              <a:rPr lang="ru-RU" sz="1400" b="1" i="0" u="none" baseline="0">
                <a:latin typeface="Arial"/>
                <a:ea typeface="ＭＳ Ｐゴシック"/>
                <a:cs typeface="Arial"/>
              </a:rPr>
              <a:t>Риски</a:t>
            </a:r>
            <a:endParaRPr lang="ru" sz="1100" b="1" dirty="0">
              <a:latin typeface="Arial"/>
              <a:ea typeface="ＭＳ Ｐゴシック"/>
              <a:cs typeface="Arial"/>
            </a:endParaRPr>
          </a:p>
          <a:p>
            <a:pPr marL="95250" algn="ctr" rtl="0">
              <a:buClr>
                <a:srgbClr val="339966"/>
              </a:buClr>
            </a:pPr>
            <a:endParaRPr lang="ru" sz="1400" b="1" dirty="0" smtClean="0">
              <a:latin typeface="Arial"/>
              <a:ea typeface="ＭＳ Ｐゴシック"/>
              <a:cs typeface="Arial"/>
            </a:endParaRPr>
          </a:p>
        </p:txBody>
      </p:sp>
      <p:sp>
        <p:nvSpPr>
          <p:cNvPr id="30" name="Rectangle 6"/>
          <p:cNvSpPr txBox="1">
            <a:spLocks/>
          </p:cNvSpPr>
          <p:nvPr/>
        </p:nvSpPr>
        <p:spPr>
          <a:xfrm>
            <a:off x="270166" y="3412832"/>
            <a:ext cx="355403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ru-RU" sz="1100" b="1" i="0" u="none" kern="1200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3</a:t>
            </a:r>
          </a:p>
        </p:txBody>
      </p:sp>
      <p:sp>
        <p:nvSpPr>
          <p:cNvPr id="31" name="Rectangle 6"/>
          <p:cNvSpPr txBox="1">
            <a:spLocks/>
          </p:cNvSpPr>
          <p:nvPr/>
        </p:nvSpPr>
        <p:spPr>
          <a:xfrm>
            <a:off x="458580" y="4808384"/>
            <a:ext cx="1903620" cy="984639"/>
          </a:xfrm>
          <a:prstGeom prst="rect">
            <a:avLst/>
          </a:prstGeom>
          <a:solidFill>
            <a:srgbClr val="C2DBEC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vert="horz" wrap="square" lIns="0" tIns="180000" rIns="72002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95250" algn="ctr" rtl="0">
              <a:buClr>
                <a:srgbClr val="339966"/>
              </a:buClr>
            </a:pPr>
            <a:r>
              <a:rPr lang="ru-RU" sz="1400" b="1" i="0" u="none" baseline="0">
                <a:latin typeface="Arial"/>
                <a:ea typeface="ＭＳ Ｐゴシック"/>
                <a:cs typeface="Arial"/>
              </a:rPr>
              <a:t>Расходы</a:t>
            </a:r>
            <a:endParaRPr lang="ru" sz="1100" b="1" dirty="0">
              <a:latin typeface="Arial"/>
              <a:ea typeface="ＭＳ Ｐゴシック"/>
              <a:cs typeface="Arial"/>
            </a:endParaRPr>
          </a:p>
          <a:p>
            <a:pPr marL="95250" algn="ctr" rtl="0">
              <a:buClr>
                <a:srgbClr val="339966"/>
              </a:buClr>
            </a:pPr>
            <a:endParaRPr lang="ru" sz="1400" b="1" dirty="0" smtClean="0">
              <a:latin typeface="Arial"/>
              <a:ea typeface="ＭＳ Ｐゴシック"/>
              <a:cs typeface="Arial"/>
            </a:endParaRPr>
          </a:p>
        </p:txBody>
      </p:sp>
      <p:sp>
        <p:nvSpPr>
          <p:cNvPr id="32" name="Rectangle 6"/>
          <p:cNvSpPr txBox="1">
            <a:spLocks/>
          </p:cNvSpPr>
          <p:nvPr/>
        </p:nvSpPr>
        <p:spPr>
          <a:xfrm>
            <a:off x="270165" y="4622802"/>
            <a:ext cx="365760" cy="365760"/>
          </a:xfrm>
          <a:prstGeom prst="ellipse">
            <a:avLst/>
          </a:prstGeom>
          <a:solidFill>
            <a:srgbClr val="FFFFFF"/>
          </a:solidFill>
          <a:ln w="19050">
            <a:solidFill>
              <a:srgbClr val="00589F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rtl="0">
              <a:buClr>
                <a:srgbClr val="339966"/>
              </a:buClr>
            </a:pPr>
            <a:r>
              <a:rPr lang="ru-RU" sz="1100" b="1" i="0" u="none" kern="1200" baseline="0">
                <a:solidFill>
                  <a:srgbClr val="1F1F1F"/>
                </a:solidFill>
                <a:latin typeface="Arial"/>
                <a:ea typeface="ＭＳ Ｐゴシック"/>
                <a:cs typeface="Arial"/>
              </a:rPr>
              <a:t>4</a:t>
            </a:r>
          </a:p>
        </p:txBody>
      </p:sp>
      <p:sp>
        <p:nvSpPr>
          <p:cNvPr id="34" name="Rectangle 33"/>
          <p:cNvSpPr/>
          <p:nvPr/>
        </p:nvSpPr>
        <p:spPr bwMode="auto">
          <a:xfrm>
            <a:off x="0" y="0"/>
            <a:ext cx="521608" cy="521608"/>
          </a:xfrm>
          <a:prstGeom prst="rect">
            <a:avLst/>
          </a:prstGeom>
          <a:solidFill>
            <a:srgbClr val="00589F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>
            <a:spAutoFit/>
          </a:bodyPr>
          <a:lstStyle/>
          <a:p>
            <a:pPr marL="133350" indent="-137160" algn="ctr" defTabSz="787400" rtl="0">
              <a:buClr>
                <a:schemeClr val="tx2"/>
              </a:buClr>
              <a:buSzPct val="125000"/>
              <a:buFont typeface="Arial" pitchFamily="34" charset="0"/>
              <a:buChar char="•"/>
            </a:pPr>
            <a:endParaRPr lang="ru" dirty="0" smtClean="0"/>
          </a:p>
        </p:txBody>
      </p:sp>
      <p:sp>
        <p:nvSpPr>
          <p:cNvPr id="35" name="Title 1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56182" y="106680"/>
            <a:ext cx="848781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defTabSz="912391" rtl="0" eaLnBrk="0" hangingPunct="0">
              <a:defRPr/>
            </a:pPr>
            <a:r>
              <a:rPr lang="ru-RU" sz="1400" b="1" i="0" u="none" baseline="0" dirty="0">
                <a:solidFill>
                  <a:schemeClr val="bg1"/>
                </a:solidFill>
                <a:latin typeface="Arial Narrow"/>
                <a:cs typeface="Arial Narrow"/>
              </a:rPr>
              <a:t>Протокол отклонений: Контрактное обязательство ПООХЦ</a:t>
            </a:r>
            <a:endParaRPr lang="ru" sz="1400" b="1" dirty="0">
              <a:solidFill>
                <a:schemeClr val="bg1"/>
              </a:solidFill>
              <a:latin typeface="Arial Narrow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463294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/&gt;&lt;m_precDefaultPercent/&gt;&lt;m_precDefaultDate/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8&quot;&gt;&lt;elem m_fUsage=&quot;2.28509999999999990000E+000&quot;&gt;&lt;m_msothmcolidx val=&quot;0&quot;/&gt;&lt;m_rgb r=&quot;3e&quot; g=&quot;55&quot; b=&quot;2f&quot;/&gt;&lt;m_ppcolschidx tagver0=&quot;23004&quot; tagname0=&quot;m_ppcolschidxUNRECOGNIZED&quot; val=&quot;0&quot;/&gt;&lt;m_nBrightness val=&quot;0&quot;/&gt;&lt;/elem&gt;&lt;elem m_fUsage=&quot;1.59049000000000020000E+000&quot;&gt;&lt;m_msothmcolidx val=&quot;0&quot;/&gt;&lt;m_rgb r=&quot;23&quot; g=&quot;47&quot; b=&quot;27&quot;/&gt;&lt;m_ppcolschidx tagver0=&quot;23004&quot; tagname0=&quot;m_ppcolschidxUNRECOGNIZED&quot; val=&quot;0&quot;/&gt;&lt;m_nBrightness val=&quot;0&quot;/&gt;&lt;/elem&gt;&lt;elem m_fUsage=&quot;1.47248903618999980000E+000&quot;&gt;&lt;m_msothmcolidx val=&quot;0&quot;/&gt;&lt;m_rgb r=&quot;ee&quot; g=&quot;fa&quot; b=&quot;9c&quot;/&gt;&lt;m_ppcolschidx tagver0=&quot;23004&quot; tagname0=&quot;m_ppcolschidxUNRECOGNIZED&quot; val=&quot;0&quot;/&gt;&lt;m_nBrightness val=&quot;0&quot;/&gt;&lt;/elem&gt;&lt;elem m_fUsage=&quot;9.91951650973079580000E-001&quot;&gt;&lt;m_msothmcolidx val=&quot;0&quot;/&gt;&lt;m_rgb r=&quot;fa&quot; g=&quot;f2&quot; b=&quot;96&quot;/&gt;&lt;m_ppcolschidx tagver0=&quot;23004&quot; tagname0=&quot;m_ppcolschidxUNRECOGNIZED&quot; val=&quot;0&quot;/&gt;&lt;m_nBrightness val=&quot;0&quot;/&gt;&lt;/elem&gt;&lt;elem m_fUsage=&quot;9.33779103492547000000E-001&quot;&gt;&lt;m_msothmcolidx val=&quot;0&quot;/&gt;&lt;m_rgb r=&quot;c1&quot; g=&quot;1f&quot; b=&quot;d&quot;/&gt;&lt;m_ppcolschidx tagver0=&quot;23004&quot; tagname0=&quot;m_ppcolschidxUNRECOGNIZED&quot; val=&quot;0&quot;/&gt;&lt;m_nBrightness val=&quot;0&quot;/&gt;&lt;/elem&gt;&lt;elem m_fUsage=&quot;9.08764110000000010000E-001&quot;&gt;&lt;m_msothmcolidx val=&quot;0&quot;/&gt;&lt;m_rgb r=&quot;f8&quot; g=&quot;f5&quot; b=&quot;d1&quot;/&gt;&lt;m_ppcolschidx tagver0=&quot;23004&quot; tagname0=&quot;m_ppcolschidxUNRECOGNIZED&quot; val=&quot;0&quot;/&gt;&lt;m_nBrightness val=&quot;0&quot;/&gt;&lt;/elem&gt;&lt;elem m_fUsage=&quot;5.31441000000000160000E-001&quot;&gt;&lt;m_msothmcolidx val=&quot;0&quot;/&gt;&lt;m_rgb r=&quot;0&quot; g=&quot;75&quot; b=&quot;35&quot;/&gt;&lt;m_ppcolschidx tagver0=&quot;23004&quot; tagname0=&quot;m_ppcolschidxUNRECOGNIZED&quot; val=&quot;0&quot;/&gt;&lt;m_nBrightness val=&quot;0&quot;/&gt;&lt;/elem&gt;&lt;elem m_fUsage=&quot;4.88320668575649100000E-001&quot;&gt;&lt;m_msothmcolidx val=&quot;0&quot;/&gt;&lt;m_rgb r=&quot;fa&quot; g=&quot;f3&quot; b=&quot;a2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12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M968WhlE68_HvvfLiOd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JzH0M5jUaxn_M71.PtR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lVkRJ_Wk6eBOey8movo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8r6p2nOEW5jhuz0pI.n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2c47Qbq4kic_K.5QlDLN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5FK7vGKUuxqcAploMPd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7BVqoG1EG6yI.R3og0c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GZSDLyLkSzD8e6X3tKq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9aHe6S5EigBJ.TFdA5h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ZiH1QSUU.LrTBHACjB6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30AIIzcE6C7ioEblR_5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AixOXtLEeA1csPRGSQ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2kCfZEd0eR5YbDtVHp2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2kCfZEd0eR5YbDtVHp2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5kC9_bVUiOOr9md6Dgu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DKdWN9rUaZmeiC3vy8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xYqk.9m6Uu1zlxJj1HNV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Ak8MFJ9EiMhGpGVx3WY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JTs1YucEWsoLm7XfoD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ZdxRuHCxkGmN7RpfOYpD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VhqDrQ_UK5GUQNiuIw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.fN9AyhU2kFRUeyoWyh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Df46CJQ0OqzbG4w_RgX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reDKOIfkmX.H4XdhEuC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ivteXAXEudWVJBsHHvk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06rA6mEkeJAdWpouXXd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ygik8u.UaaPcltliZtD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WDWLxFj0yU8XkW6GTGW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ggtL94BEmGLRibYTjV_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cn2KGoJUqNeQXGnd98w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0YdtwgJkebsIkCwV6t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WDWLxFj0yU8XkW6GTGW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WDWLxFj0yU8XkW6GTGW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WDWLxFj0yU8XkW6GTGW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WDWLxFj0yU8XkW6GTG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2kCfZEd0eR5YbDtVHp2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5kC9_bVUiOOr9md6Dgu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DKdWN9rUaZmeiC3vy8m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xYqk.9m6Uu1zlxJj1HNV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Ak8MFJ9EiMhGpGVx3W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JTs1YucEWsoLm7XfoDw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ZdxRuHCxkGmN7RpfOYpD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VhqDrQ_UK5GUQNiuIwr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.fN9AyhU2kFRUeyoWyh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Df46CJQ0OqzbG4w_RgX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reDKOIfkmX.H4XdhEuC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ivteXAXEudWVJBsHHvk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06rA6mEkeJAdWpouXXd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ygik8u.UaaPcltliZtD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WDWLxFj0yU8XkW6GTG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XGZyBzmUum9UyfFKWvc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ggtL94BEmGLRibYTjV_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cn2KGoJUqNeQXGnd98w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0YdtwgJkebsIkCwV6tR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WDWLxFj0yU8XkW6GTGW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WDWLxFj0yU8XkW6GTGW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WDWLxFj0yU8XkW6GTGW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WDWLxFj0yU8XkW6GTGW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2kCfZEd0eR5YbDtVHp2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2kCfZEd0eR5YbDtVHp2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Kb1DxWY0G508jW77dOa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2kCfZEd0eR5YbDtVHp2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xYqk.9m6Uu1zlxJj1HNV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Ak8MFJ9EiMhGpGVx3WY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cup7EPQUGUxEkSMkQpH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xYqk.9m6Uu1zlxJj1HNV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xYqk.9m6Uu1zlxJj1HNV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gTRzUwok2FhOjiLw3Uk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je_TkLCEGv265EDiiTC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Fn.0bwrkagkJ5ga7hI9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rY9gGjVkGoaahUVN7tP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tR92.e00W2I9.YzZEYLA"/>
</p:tagLst>
</file>

<file path=ppt/theme/theme1.xml><?xml version="1.0" encoding="utf-8"?>
<a:theme xmlns:a="http://schemas.openxmlformats.org/drawingml/2006/main" name="1_Mckinsey">
  <a:themeElements>
    <a:clrScheme name="Custom 2">
      <a:dk1>
        <a:srgbClr val="1F1F1F"/>
      </a:dk1>
      <a:lt1>
        <a:srgbClr val="FFFFFF"/>
      </a:lt1>
      <a:dk2>
        <a:srgbClr val="339966"/>
      </a:dk2>
      <a:lt2>
        <a:srgbClr val="FFFFFF"/>
      </a:lt2>
      <a:accent1>
        <a:srgbClr val="DAF2E6"/>
      </a:accent1>
      <a:accent2>
        <a:srgbClr val="A3E0C2"/>
      </a:accent2>
      <a:accent3>
        <a:srgbClr val="75D1A3"/>
      </a:accent3>
      <a:accent4>
        <a:srgbClr val="3DB77A"/>
      </a:accent4>
      <a:accent5>
        <a:srgbClr val="339966"/>
      </a:accent5>
      <a:accent6>
        <a:srgbClr val="808080"/>
      </a:accent6>
      <a:hlink>
        <a:srgbClr val="D1F0E0"/>
      </a:hlink>
      <a:folHlink>
        <a:srgbClr val="33996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1699</TotalTime>
  <Words>2730</Words>
  <Application>Microsoft Office PowerPoint</Application>
  <PresentationFormat>On-screen Show (4:3)</PresentationFormat>
  <Paragraphs>421</Paragraphs>
  <Slides>18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MS PGothic</vt:lpstr>
      <vt:lpstr>MS PGothic</vt:lpstr>
      <vt:lpstr>Arial</vt:lpstr>
      <vt:lpstr>Arial Narrow</vt:lpstr>
      <vt:lpstr>Calibri</vt:lpstr>
      <vt:lpstr>Courier New</vt:lpstr>
      <vt:lpstr>1_Mckinsey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Hewlett-Packar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helle Arnot-Kruger</dc:creator>
  <cp:lastModifiedBy>Yizi Yang</cp:lastModifiedBy>
  <cp:revision>1467</cp:revision>
  <cp:lastPrinted>2017-01-20T11:31:32Z</cp:lastPrinted>
  <dcterms:created xsi:type="dcterms:W3CDTF">2014-04-06T16:39:08Z</dcterms:created>
  <dcterms:modified xsi:type="dcterms:W3CDTF">2017-05-23T09:36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